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25"/>
  </p:notesMasterIdLst>
  <p:handoutMasterIdLst>
    <p:handoutMasterId r:id="rId26"/>
  </p:handoutMasterIdLst>
  <p:sldIdLst>
    <p:sldId id="256" r:id="rId5"/>
    <p:sldId id="2147375589" r:id="rId6"/>
    <p:sldId id="4848" r:id="rId7"/>
    <p:sldId id="2147375597" r:id="rId8"/>
    <p:sldId id="2147375600" r:id="rId9"/>
    <p:sldId id="2147375601" r:id="rId10"/>
    <p:sldId id="2147375602" r:id="rId11"/>
    <p:sldId id="2147375603" r:id="rId12"/>
    <p:sldId id="2147375604" r:id="rId13"/>
    <p:sldId id="2147375605" r:id="rId14"/>
    <p:sldId id="2147375606" r:id="rId15"/>
    <p:sldId id="2147375607" r:id="rId16"/>
    <p:sldId id="2147375608" r:id="rId17"/>
    <p:sldId id="2147375609" r:id="rId18"/>
    <p:sldId id="2147375610" r:id="rId19"/>
    <p:sldId id="2147375611" r:id="rId20"/>
    <p:sldId id="2147375612" r:id="rId21"/>
    <p:sldId id="2147375613" r:id="rId22"/>
    <p:sldId id="2147375614" r:id="rId23"/>
    <p:sldId id="1633" r:id="rId24"/>
  </p:sldIdLst>
  <p:sldSz cx="12192000" cy="6858000"/>
  <p:notesSz cx="6858000" cy="9144000"/>
  <p:custDataLst>
    <p:tags r:id="rId2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40" userDrawn="1">
          <p15:clr>
            <a:srgbClr val="A4A3A4"/>
          </p15:clr>
        </p15:guide>
        <p15:guide id="3" orient="horz" pos="1296" userDrawn="1">
          <p15:clr>
            <a:srgbClr val="A4A3A4"/>
          </p15:clr>
        </p15:guide>
        <p15:guide id="4" pos="7368" userDrawn="1">
          <p15:clr>
            <a:srgbClr val="A4A3A4"/>
          </p15:clr>
        </p15:guide>
        <p15:guide id="5" orient="horz" pos="2448" userDrawn="1">
          <p15:clr>
            <a:srgbClr val="A4A3A4"/>
          </p15:clr>
        </p15:guide>
        <p15:guide id="6" pos="3792" userDrawn="1">
          <p15:clr>
            <a:srgbClr val="A4A3A4"/>
          </p15:clr>
        </p15:guide>
        <p15:guide id="7" pos="3912" userDrawn="1">
          <p15:clr>
            <a:srgbClr val="A4A3A4"/>
          </p15:clr>
        </p15:guide>
        <p15:guide id="8" pos="336" userDrawn="1">
          <p15:clr>
            <a:srgbClr val="A4A3A4"/>
          </p15:clr>
        </p15:guide>
        <p15:guide id="9" pos="2808" userDrawn="1">
          <p15:clr>
            <a:srgbClr val="A4A3A4"/>
          </p15:clr>
        </p15:guide>
        <p15:guide id="10" pos="259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F80B698-1556-A878-72C9-39F4C38E8BCE}" name="Devayani Choubal" initials="DC" userId="S::devayani.choubal@u-next.com::53ae5dc1-82ed-4152-be5e-64c69001be2f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onak Ron [UNext]" initials="RR[" lastIdx="0" clrIdx="0">
    <p:extLst>
      <p:ext uri="{19B8F6BF-5375-455C-9EA6-DF929625EA0E}">
        <p15:presenceInfo xmlns:p15="http://schemas.microsoft.com/office/powerpoint/2012/main" userId="S-1-5-21-3050109315-2652681210-1900103164-658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33246"/>
    <a:srgbClr val="FF6600"/>
    <a:srgbClr val="595959"/>
    <a:srgbClr val="EDBD95"/>
    <a:srgbClr val="DFC597"/>
    <a:srgbClr val="CDCB99"/>
    <a:srgbClr val="A1A1A1"/>
    <a:srgbClr val="767171"/>
    <a:srgbClr val="323335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3447" autoAdjust="0"/>
  </p:normalViewPr>
  <p:slideViewPr>
    <p:cSldViewPr snapToGrid="0">
      <p:cViewPr varScale="1">
        <p:scale>
          <a:sx n="61" d="100"/>
          <a:sy n="61" d="100"/>
        </p:scale>
        <p:origin x="884" y="56"/>
      </p:cViewPr>
      <p:guideLst>
        <p:guide orient="horz" pos="840"/>
        <p:guide orient="horz" pos="1296"/>
        <p:guide pos="7368"/>
        <p:guide orient="horz" pos="2448"/>
        <p:guide pos="3792"/>
        <p:guide pos="3912"/>
        <p:guide pos="336"/>
        <p:guide pos="2808"/>
        <p:guide pos="259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 varScale="1">
        <p:scale>
          <a:sx n="49" d="100"/>
          <a:sy n="49" d="100"/>
        </p:scale>
        <p:origin x="2910" y="6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microsoft.com/office/2018/10/relationships/authors" Target="author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notesMaster" Target="notesMasters/notesMaster1.xml"/><Relationship Id="rId33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commentAuthors" Target="commentAuthor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tags" Target="tags/tag1.xml"/><Relationship Id="rId30" Type="http://schemas.openxmlformats.org/officeDocument/2006/relationships/viewProps" Target="viewProps.xml"/><Relationship Id="rId8" Type="http://schemas.openxmlformats.org/officeDocument/2006/relationships/slide" Target="slides/slide4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allipalli, Lakshmi Susmitha Jayasri SBOBNG-PTIY/AAF" userId="04856b88-c793-4769-a00b-f1847eebc676" providerId="ADAL" clId="{2F0F99CC-E782-4EF3-8B49-ED330814F93C}"/>
    <pc:docChg chg="custSel modSld">
      <pc:chgData name="Jallipalli, Lakshmi Susmitha Jayasri SBOBNG-PTIY/AAF" userId="04856b88-c793-4769-a00b-f1847eebc676" providerId="ADAL" clId="{2F0F99CC-E782-4EF3-8B49-ED330814F93C}" dt="2024-09-04T08:31:32.397" v="12" actId="478"/>
      <pc:docMkLst>
        <pc:docMk/>
      </pc:docMkLst>
      <pc:sldChg chg="modSp mod">
        <pc:chgData name="Jallipalli, Lakshmi Susmitha Jayasri SBOBNG-PTIY/AAF" userId="04856b88-c793-4769-a00b-f1847eebc676" providerId="ADAL" clId="{2F0F99CC-E782-4EF3-8B49-ED330814F93C}" dt="2024-09-03T03:33:55.057" v="11" actId="20577"/>
        <pc:sldMkLst>
          <pc:docMk/>
          <pc:sldMk cId="3267775274" sldId="256"/>
        </pc:sldMkLst>
        <pc:spChg chg="mod">
          <ac:chgData name="Jallipalli, Lakshmi Susmitha Jayasri SBOBNG-PTIY/AAF" userId="04856b88-c793-4769-a00b-f1847eebc676" providerId="ADAL" clId="{2F0F99CC-E782-4EF3-8B49-ED330814F93C}" dt="2024-09-03T03:33:29.852" v="1" actId="20577"/>
          <ac:spMkLst>
            <pc:docMk/>
            <pc:sldMk cId="3267775274" sldId="256"/>
            <ac:spMk id="6" creationId="{0C37A4A8-A3C7-407F-B123-88E2E165C827}"/>
          </ac:spMkLst>
        </pc:spChg>
        <pc:spChg chg="mod">
          <ac:chgData name="Jallipalli, Lakshmi Susmitha Jayasri SBOBNG-PTIY/AAF" userId="04856b88-c793-4769-a00b-f1847eebc676" providerId="ADAL" clId="{2F0F99CC-E782-4EF3-8B49-ED330814F93C}" dt="2024-09-03T03:33:55.057" v="11" actId="20577"/>
          <ac:spMkLst>
            <pc:docMk/>
            <pc:sldMk cId="3267775274" sldId="256"/>
            <ac:spMk id="13" creationId="{C48F8DD6-A1B3-8126-FAC3-218B712C7FFB}"/>
          </ac:spMkLst>
        </pc:spChg>
      </pc:sldChg>
      <pc:sldChg chg="delSp mod">
        <pc:chgData name="Jallipalli, Lakshmi Susmitha Jayasri SBOBNG-PTIY/AAF" userId="04856b88-c793-4769-a00b-f1847eebc676" providerId="ADAL" clId="{2F0F99CC-E782-4EF3-8B49-ED330814F93C}" dt="2024-09-04T08:31:32.397" v="12" actId="478"/>
        <pc:sldMkLst>
          <pc:docMk/>
          <pc:sldMk cId="245881457" sldId="2147375597"/>
        </pc:sldMkLst>
        <pc:picChg chg="del">
          <ac:chgData name="Jallipalli, Lakshmi Susmitha Jayasri SBOBNG-PTIY/AAF" userId="04856b88-c793-4769-a00b-f1847eebc676" providerId="ADAL" clId="{2F0F99CC-E782-4EF3-8B49-ED330814F93C}" dt="2024-09-04T08:31:32.397" v="12" actId="478"/>
          <ac:picMkLst>
            <pc:docMk/>
            <pc:sldMk cId="245881457" sldId="2147375597"/>
            <ac:picMk id="5" creationId="{8192759F-85F4-D9CB-FE55-DE57B83CACD4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EFE5A76-C01F-4BC9-88F3-398B036E3DE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978A5B3-1817-426C-9FE1-7C805AB7B56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65F293-8627-45D3-8E1A-F6ADA80B8E24}" type="datetimeFigureOut">
              <a:rPr lang="en-US" smtClean="0"/>
              <a:t>9/6/2024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A430698-86D0-4ED7-BA12-B188B70018A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F18B094-49A8-4C1A-89B2-A2DD3D782F3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E9A553-0509-4CFD-AE32-30968D1E42E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05579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0509F1D-83B7-43AF-A495-3D2B1AB5AEA1}" type="datetimeFigureOut">
              <a:rPr lang="fr-FR" smtClean="0"/>
              <a:t>06/09/2024</a:t>
            </a:fld>
            <a:endParaRPr lang="fr-FR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7E40836-DCE2-43E5-BC89-B27048B0D18C}" type="slidenum">
              <a:rPr lang="fr-FR" smtClean="0"/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819470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13" Type="http://schemas.openxmlformats.org/officeDocument/2006/relationships/image" Target="../media/image5.pn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12" Type="http://schemas.openxmlformats.org/officeDocument/2006/relationships/image" Target="../media/image19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3.svg"/><Relationship Id="rId11" Type="http://schemas.openxmlformats.org/officeDocument/2006/relationships/image" Target="../media/image18.png"/><Relationship Id="rId5" Type="http://schemas.openxmlformats.org/officeDocument/2006/relationships/image" Target="../media/image12.png"/><Relationship Id="rId10" Type="http://schemas.openxmlformats.org/officeDocument/2006/relationships/image" Target="../media/image17.svg"/><Relationship Id="rId4" Type="http://schemas.openxmlformats.org/officeDocument/2006/relationships/image" Target="../media/image11.svg"/><Relationship Id="rId9" Type="http://schemas.openxmlformats.org/officeDocument/2006/relationships/image" Target="../media/image16.png"/><Relationship Id="rId14" Type="http://schemas.openxmlformats.org/officeDocument/2006/relationships/image" Target="../media/image6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10F0E9A1-B6DE-4168-B5A1-8DD9A175CD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4322" cy="6858000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F424BBA8-8B40-48D2-944C-09BAE91D374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2334" y="4544698"/>
            <a:ext cx="6259003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51B38EA-93F4-4AE2-A67B-F3B4600DBC3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56639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C65561A-2CFC-4A8B-9C60-BCE32A0B53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9615" y="3716073"/>
            <a:ext cx="10525125" cy="120173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C45ED35D-2033-4D06-A960-F501039EB620}"/>
              </a:ext>
            </a:extLst>
          </p:cNvPr>
          <p:cNvGrpSpPr/>
          <p:nvPr userDrawn="1"/>
        </p:nvGrpSpPr>
        <p:grpSpPr>
          <a:xfrm>
            <a:off x="667246" y="786655"/>
            <a:ext cx="1903700" cy="594469"/>
            <a:chOff x="-1341375" y="2360931"/>
            <a:chExt cx="1059076" cy="330718"/>
          </a:xfrm>
        </p:grpSpPr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BC09FDE2-AE7C-485C-ADFC-AC10B7828CC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l="21960"/>
            <a:stretch/>
          </p:blipFill>
          <p:spPr>
            <a:xfrm>
              <a:off x="-1108801" y="2360931"/>
              <a:ext cx="826502" cy="330718"/>
            </a:xfrm>
            <a:prstGeom prst="rect">
              <a:avLst/>
            </a:prstGeom>
          </p:spPr>
        </p:pic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CC0F8E41-253E-41DF-8E38-8F20042CF50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r="78849"/>
            <a:stretch/>
          </p:blipFill>
          <p:spPr>
            <a:xfrm>
              <a:off x="-1341375" y="2360931"/>
              <a:ext cx="224001" cy="3307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252566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Video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Media Placeholder 18">
            <a:extLst>
              <a:ext uri="{FF2B5EF4-FFF2-40B4-BE49-F238E27FC236}">
                <a16:creationId xmlns:a16="http://schemas.microsoft.com/office/drawing/2014/main" id="{0163825F-9622-442C-A955-9A670AE36873}"/>
              </a:ext>
            </a:extLst>
          </p:cNvPr>
          <p:cNvSpPr>
            <a:spLocks noGrp="1"/>
          </p:cNvSpPr>
          <p:nvPr>
            <p:ph type="media" sz="quarter" idx="15"/>
          </p:nvPr>
        </p:nvSpPr>
        <p:spPr>
          <a:xfrm>
            <a:off x="463550" y="2155178"/>
            <a:ext cx="4939724" cy="2766001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270D"/>
              </a:buClr>
              <a:buFontTx/>
              <a:buNone/>
              <a:defRPr/>
            </a:lvl1pPr>
          </a:lstStyle>
          <a:p>
            <a:r>
              <a:rPr lang="en-US" dirty="0"/>
              <a:t>Click icon to add media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2129C50-A50F-426C-A1B4-A5BC0AE117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4023A7D-6604-4466-8935-5BE76FFE35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70D8C073-C831-4972-98E2-0D778FB919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75597" y="2155178"/>
            <a:ext cx="5748232" cy="276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AEBAD36-EC7D-4C77-89DF-F466D092DE3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0C2C1531-8A99-4649-BB92-845205A8A33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5CB26993-C947-4534-8402-0F64F94B2D3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9739996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CD03BBA6-5CE3-44D2-BEC3-1F68D8C3484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7">
            <a:extLst>
              <a:ext uri="{FF2B5EF4-FFF2-40B4-BE49-F238E27FC236}">
                <a16:creationId xmlns:a16="http://schemas.microsoft.com/office/drawing/2014/main" id="{AE695197-BFA0-4150-8526-A4FF321426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id="{D213610D-1924-491C-AEBA-1EC1399317A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673634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:a16="http://schemas.microsoft.com/office/drawing/2014/main" id="{46F6C916-80AD-43A5-AE45-7BB6AF28E6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632"/>
          <a:stretch/>
        </p:blipFill>
        <p:spPr>
          <a:xfrm>
            <a:off x="-1" y="8789"/>
            <a:ext cx="12192001" cy="5996093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3C865BB1-7E41-4D27-A250-D75244451574}"/>
              </a:ext>
            </a:extLst>
          </p:cNvPr>
          <p:cNvSpPr/>
          <p:nvPr userDrawn="1"/>
        </p:nvSpPr>
        <p:spPr>
          <a:xfrm>
            <a:off x="-2" y="0"/>
            <a:ext cx="12179808" cy="5926822"/>
          </a:xfrm>
          <a:prstGeom prst="rect">
            <a:avLst/>
          </a:prstGeom>
          <a:solidFill>
            <a:schemeClr val="tx1">
              <a:alpha val="56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1DF54627-6FE3-4F02-BEE6-224D46E4FBB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5642" y="2673043"/>
            <a:ext cx="10525125" cy="59831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Thank You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A40EE48-6312-4506-A13E-61545C93DC92}"/>
              </a:ext>
            </a:extLst>
          </p:cNvPr>
          <p:cNvSpPr/>
          <p:nvPr userDrawn="1"/>
        </p:nvSpPr>
        <p:spPr>
          <a:xfrm>
            <a:off x="0" y="5922632"/>
            <a:ext cx="12192000" cy="100464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94927022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625519DA-A563-4E26-A5A3-35A5F1B0BE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1" y="2155178"/>
            <a:ext cx="5632450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8DE7D5C9-099D-4B37-AD1E-5D9D7C8964E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354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8B52B608-7F53-4519-97B1-8C454FF7D97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93791" y="2155178"/>
            <a:ext cx="5530037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69B4E35-2FEB-4EFE-9AB0-3ABEE0F71AF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9378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467AEEF8-0ECF-447C-B907-EE4C832274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600" b="0">
                <a:solidFill>
                  <a:srgbClr val="FF270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81169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36E3703-E07A-42E3-B578-C8CADCDE0E8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C6D44476-C256-492F-B4D6-1B81ABF13BF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4" name="Slide Number Placeholder 6">
            <a:extLst>
              <a:ext uri="{FF2B5EF4-FFF2-40B4-BE49-F238E27FC236}">
                <a16:creationId xmlns:a16="http://schemas.microsoft.com/office/drawing/2014/main" id="{8557D49C-6CE5-40CD-BC10-0299D651B34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6172437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CDCAA10-24E4-4878-9FD1-7E1C15708AA4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CB14A226-019D-4AE3-BEB3-580AC6BC822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2" name="Slide Number Placeholder 6">
            <a:extLst>
              <a:ext uri="{FF2B5EF4-FFF2-40B4-BE49-F238E27FC236}">
                <a16:creationId xmlns:a16="http://schemas.microsoft.com/office/drawing/2014/main" id="{DFD564CF-E82C-4982-9D70-AA731293D5B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555583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B5052915-8A36-4DED-A9A2-2E2D0A9A39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92" y="0"/>
            <a:ext cx="12167616" cy="6858000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C1D2BAA8-F933-4BD0-9B21-54CF3421868E}"/>
              </a:ext>
            </a:extLst>
          </p:cNvPr>
          <p:cNvSpPr/>
          <p:nvPr userDrawn="1"/>
        </p:nvSpPr>
        <p:spPr>
          <a:xfrm>
            <a:off x="0" y="4712677"/>
            <a:ext cx="12192000" cy="21453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E02DE59-679E-47F9-BE8C-774CAE105C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5400"/>
          <a:stretch/>
        </p:blipFill>
        <p:spPr>
          <a:xfrm>
            <a:off x="-1" y="8790"/>
            <a:ext cx="12192001" cy="4703886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8EF4414-5723-465C-B9A9-EB1133424EAF}"/>
              </a:ext>
            </a:extLst>
          </p:cNvPr>
          <p:cNvSpPr/>
          <p:nvPr userDrawn="1"/>
        </p:nvSpPr>
        <p:spPr>
          <a:xfrm>
            <a:off x="12192" y="438776"/>
            <a:ext cx="12179808" cy="4712677"/>
          </a:xfrm>
          <a:prstGeom prst="rect">
            <a:avLst/>
          </a:prstGeom>
          <a:solidFill>
            <a:schemeClr val="tx1">
              <a:alpha val="5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1DF54627-6FE3-4F02-BEE6-224D46E4FBB6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8156" y="3270882"/>
            <a:ext cx="11562786" cy="142414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CEBA9AB-DA51-4E42-BD7D-611F0F485B5C}"/>
              </a:ext>
            </a:extLst>
          </p:cNvPr>
          <p:cNvCxnSpPr>
            <a:cxnSpLocks/>
          </p:cNvCxnSpPr>
          <p:nvPr userDrawn="1"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D0A23A50-1F24-4E6C-B9DD-E9C7F079E4D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86137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4C1D2502-6D0F-4202-A00D-CDC24D888BF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0" y="2155178"/>
            <a:ext cx="11260279" cy="544252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–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F60A7A5-DBE1-4100-B28C-BC6B35FB3A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1C4BE21B-C38B-4A0F-9DC7-142BCF9747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E40B0ED-A9F2-4C94-98FF-924299A8C3C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F2D4330B-72BA-4E47-9EB9-D1419926F8C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B457AA67-0DAE-4E8A-B03D-DBE56C87C68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55172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C6D2406A-2722-4EF1-820F-8707F8A90F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93791" y="2155178"/>
            <a:ext cx="553003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8D9C4735-58C7-4EEA-B73F-615981BB8E4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5630140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EC016286-5D8B-40A1-A46E-DD10B2BE98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585586C7-60DD-49B3-BDE8-23ADE45270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ADDE7CB-CF38-49AB-B852-FCDF76B962E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Graphic 11">
            <a:extLst>
              <a:ext uri="{FF2B5EF4-FFF2-40B4-BE49-F238E27FC236}">
                <a16:creationId xmlns:a16="http://schemas.microsoft.com/office/drawing/2014/main" id="{B5D97CDF-8F6D-4696-B7EB-C50BC4E74F0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9" name="Slide Number Placeholder 6">
            <a:extLst>
              <a:ext uri="{FF2B5EF4-FFF2-40B4-BE49-F238E27FC236}">
                <a16:creationId xmlns:a16="http://schemas.microsoft.com/office/drawing/2014/main" id="{E13D5DD3-50DE-4DB0-ACFA-498F33D8FEA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0393779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+Picture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55175844-852B-416F-8BD1-E38A3A9BB8E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451914" y="2155178"/>
            <a:ext cx="3295650" cy="313873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6C80F846-D540-4105-A3E2-90BBA13E91F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779144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88C2FABF-7C46-4EFF-9A0F-C52DEAAB18A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D7CFE1BD-BF2C-49A5-84F7-38A20C5C85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3A36BE5-967B-47AA-BF1E-9279A4E7E6CA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8142E152-3F97-4638-8AA7-06B7D04E0E0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CFB84014-F165-4052-80A4-C23B25206E6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9214675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Picture (2 column)-op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16">
            <a:extLst>
              <a:ext uri="{FF2B5EF4-FFF2-40B4-BE49-F238E27FC236}">
                <a16:creationId xmlns:a16="http://schemas.microsoft.com/office/drawing/2014/main" id="{8054AEA1-0156-48E6-AC30-EF81FB76161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3550" y="2155178"/>
            <a:ext cx="3295650" cy="315600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3AED9CCB-BCE8-4297-9303-041507E7958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19839" y="2155181"/>
            <a:ext cx="7403989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2711701B-F339-4142-B879-9B35EA158B5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6AD53723-B9C5-414F-85A1-65DBCC0937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FE19ACC-5045-4206-B51B-65F10EAD447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59D56AD6-CA18-4B00-AE08-53FA7B6E78E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820780CB-C749-4877-B426-B8E29F3CCF7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7622543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icons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18E432B7-1F4C-4CFF-8575-E7CFC58E86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3549" y="3871348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108C5A5-7E2D-4FB4-98C2-927BD247384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47754" y="3868034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22">
            <a:extLst>
              <a:ext uri="{FF2B5EF4-FFF2-40B4-BE49-F238E27FC236}">
                <a16:creationId xmlns:a16="http://schemas.microsoft.com/office/drawing/2014/main" id="{E40A23F4-FDD3-48F8-AD63-94B0943EBDD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31959" y="3864720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2">
            <a:extLst>
              <a:ext uri="{FF2B5EF4-FFF2-40B4-BE49-F238E27FC236}">
                <a16:creationId xmlns:a16="http://schemas.microsoft.com/office/drawing/2014/main" id="{710F5905-35BB-40BD-89AB-6B98D538DE2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316164" y="3856767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22">
            <a:extLst>
              <a:ext uri="{FF2B5EF4-FFF2-40B4-BE49-F238E27FC236}">
                <a16:creationId xmlns:a16="http://schemas.microsoft.com/office/drawing/2014/main" id="{6BF555FD-AC31-4E9A-8B25-DE18FCE3216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600369" y="3858092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63F997A-CEF0-4FB0-BD9D-FAF8B63D8C3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0CC00FA0-254C-483F-94C2-AA94DE42F1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5861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5BFCE74B-C4D4-47D2-A481-128353F2CC6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73001" y="2647398"/>
            <a:ext cx="892141" cy="892141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D9B08A19-CB31-42C0-84A3-18B45AE9A63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127026" y="2702322"/>
            <a:ext cx="952500" cy="952500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551E54F5-4A7D-4D54-BF86-6FCE1BC29BA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791669" y="2798555"/>
            <a:ext cx="760034" cy="760034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4B1F42F0-253D-4D7C-910C-9305E9B612F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75874" y="2798555"/>
            <a:ext cx="760034" cy="760034"/>
          </a:xfrm>
          <a:prstGeom prst="rect">
            <a:avLst/>
          </a:prstGeom>
        </p:spPr>
      </p:pic>
      <p:pic>
        <p:nvPicPr>
          <p:cNvPr id="50" name="Graphic 49">
            <a:extLst>
              <a:ext uri="{FF2B5EF4-FFF2-40B4-BE49-F238E27FC236}">
                <a16:creationId xmlns:a16="http://schemas.microsoft.com/office/drawing/2014/main" id="{18C3C4C7-BCA6-40A1-A61A-CC7CBC9BA961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507464" y="2779505"/>
            <a:ext cx="760034" cy="760034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1298D07-C6D5-44F3-95AB-BD602D8D24F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Graphic 21">
            <a:extLst>
              <a:ext uri="{FF2B5EF4-FFF2-40B4-BE49-F238E27FC236}">
                <a16:creationId xmlns:a16="http://schemas.microsoft.com/office/drawing/2014/main" id="{5D0D9C79-7BAF-4040-8366-E804E2943CDF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28" name="Slide Number Placeholder 6">
            <a:extLst>
              <a:ext uri="{FF2B5EF4-FFF2-40B4-BE49-F238E27FC236}">
                <a16:creationId xmlns:a16="http://schemas.microsoft.com/office/drawing/2014/main" id="{6F8B5DF7-4E33-4363-A243-3363920EADD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8696234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056333D-029F-4CEB-88B9-16360ABAFE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073826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60" imgH="360" progId="TCLayout.ActiveDocument.1">
                  <p:embed/>
                </p:oleObj>
              </mc:Choice>
              <mc:Fallback>
                <p:oleObj name="think-cell Slide" r:id="rId16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056333D-029F-4CEB-88B9-16360ABAFE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89887C6-213D-4EC5-B285-03E99B65176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1456809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r-FR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80826BC-C5B4-4A35-8F7C-44247491A7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5970329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9" r:id="rId2"/>
    <p:sldLayoutId id="2147483665" r:id="rId3"/>
    <p:sldLayoutId id="2147483652" r:id="rId4"/>
    <p:sldLayoutId id="2147483655" r:id="rId5"/>
    <p:sldLayoutId id="2147483650" r:id="rId6"/>
    <p:sldLayoutId id="2147483658" r:id="rId7"/>
    <p:sldLayoutId id="2147483651" r:id="rId8"/>
    <p:sldLayoutId id="2147483653" r:id="rId9"/>
    <p:sldLayoutId id="2147483654" r:id="rId10"/>
    <p:sldLayoutId id="2147483657" r:id="rId11"/>
    <p:sldLayoutId id="2147483664" r:id="rId12"/>
    <p:sldLayoutId id="2147483666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7" Type="http://schemas.openxmlformats.org/officeDocument/2006/relationships/image" Target="../media/image3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6" Type="http://schemas.openxmlformats.org/officeDocument/2006/relationships/image" Target="../media/image29.svg"/><Relationship Id="rId5" Type="http://schemas.openxmlformats.org/officeDocument/2006/relationships/image" Target="../media/image28.png"/><Relationship Id="rId4" Type="http://schemas.openxmlformats.org/officeDocument/2006/relationships/image" Target="../media/image21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7" Type="http://schemas.openxmlformats.org/officeDocument/2006/relationships/image" Target="../media/image34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6" Type="http://schemas.openxmlformats.org/officeDocument/2006/relationships/image" Target="../media/image33.svg"/><Relationship Id="rId5" Type="http://schemas.openxmlformats.org/officeDocument/2006/relationships/image" Target="../media/image32.png"/><Relationship Id="rId4" Type="http://schemas.openxmlformats.org/officeDocument/2006/relationships/image" Target="../media/image21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7" Type="http://schemas.openxmlformats.org/officeDocument/2006/relationships/image" Target="../media/image3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6" Type="http://schemas.openxmlformats.org/officeDocument/2006/relationships/image" Target="../media/image33.svg"/><Relationship Id="rId5" Type="http://schemas.openxmlformats.org/officeDocument/2006/relationships/image" Target="../media/image32.png"/><Relationship Id="rId4" Type="http://schemas.openxmlformats.org/officeDocument/2006/relationships/image" Target="../media/image21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7" Type="http://schemas.openxmlformats.org/officeDocument/2006/relationships/image" Target="../media/image3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6" Type="http://schemas.openxmlformats.org/officeDocument/2006/relationships/image" Target="../media/image33.svg"/><Relationship Id="rId5" Type="http://schemas.openxmlformats.org/officeDocument/2006/relationships/image" Target="../media/image32.png"/><Relationship Id="rId4" Type="http://schemas.openxmlformats.org/officeDocument/2006/relationships/image" Target="../media/image21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6" Type="http://schemas.openxmlformats.org/officeDocument/2006/relationships/image" Target="../media/image38.svg"/><Relationship Id="rId5" Type="http://schemas.openxmlformats.org/officeDocument/2006/relationships/image" Target="../media/image37.png"/><Relationship Id="rId4" Type="http://schemas.openxmlformats.org/officeDocument/2006/relationships/image" Target="../media/image21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sv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7" Type="http://schemas.openxmlformats.org/officeDocument/2006/relationships/image" Target="../media/image41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6" Type="http://schemas.openxmlformats.org/officeDocument/2006/relationships/image" Target="../media/image40.svg"/><Relationship Id="rId5" Type="http://schemas.openxmlformats.org/officeDocument/2006/relationships/image" Target="../media/image39.png"/><Relationship Id="rId4" Type="http://schemas.openxmlformats.org/officeDocument/2006/relationships/image" Target="../media/image21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6" Type="http://schemas.openxmlformats.org/officeDocument/2006/relationships/image" Target="../media/image43.svg"/><Relationship Id="rId5" Type="http://schemas.openxmlformats.org/officeDocument/2006/relationships/image" Target="../media/image42.png"/><Relationship Id="rId4" Type="http://schemas.openxmlformats.org/officeDocument/2006/relationships/image" Target="../media/image2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5" Type="http://schemas.openxmlformats.org/officeDocument/2006/relationships/image" Target="../media/image22.jpeg"/><Relationship Id="rId4" Type="http://schemas.openxmlformats.org/officeDocument/2006/relationships/image" Target="../media/image21.emf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25.jp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7" Type="http://schemas.openxmlformats.org/officeDocument/2006/relationships/image" Target="../media/image26.jp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7" Type="http://schemas.openxmlformats.org/officeDocument/2006/relationships/image" Target="../media/image27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7" Type="http://schemas.openxmlformats.org/officeDocument/2006/relationships/image" Target="../media/image30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image" Target="../media/image29.svg"/><Relationship Id="rId5" Type="http://schemas.openxmlformats.org/officeDocument/2006/relationships/image" Target="../media/image28.png"/><Relationship Id="rId4" Type="http://schemas.openxmlformats.org/officeDocument/2006/relationships/image" Target="../media/image2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7" Type="http://schemas.openxmlformats.org/officeDocument/2006/relationships/image" Target="../media/image26.jp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6" Type="http://schemas.openxmlformats.org/officeDocument/2006/relationships/image" Target="../media/image29.svg"/><Relationship Id="rId5" Type="http://schemas.openxmlformats.org/officeDocument/2006/relationships/image" Target="../media/image28.png"/><Relationship Id="rId4" Type="http://schemas.openxmlformats.org/officeDocument/2006/relationships/image" Target="../media/image2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C37A4A8-A3C7-407F-B123-88E2E165C82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84269" y="3003335"/>
            <a:ext cx="10525125" cy="1200329"/>
          </a:xfrm>
        </p:spPr>
        <p:txBody>
          <a:bodyPr anchor="b">
            <a:spAutoFit/>
          </a:bodyPr>
          <a:lstStyle/>
          <a:p>
            <a:r>
              <a:rPr lang="en-US" sz="4000" dirty="0"/>
              <a:t>Shell Bootcamp 2024</a:t>
            </a:r>
            <a:br>
              <a:rPr lang="en-US" sz="4000" dirty="0"/>
            </a:br>
            <a:r>
              <a:rPr lang="en-US" sz="4000" dirty="0"/>
              <a:t>3 Reflections for Week 2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A24547F-8A92-CDC5-A578-3733390534F2}"/>
              </a:ext>
            </a:extLst>
          </p:cNvPr>
          <p:cNvSpPr txBox="1"/>
          <p:nvPr/>
        </p:nvSpPr>
        <p:spPr>
          <a:xfrm>
            <a:off x="684269" y="4795291"/>
            <a:ext cx="829918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</a:rPr>
              <a:t>Jallipalli Lakshmi Susmitha Jayasri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48F8DD6-A1B3-8126-FAC3-218B712C7FFB}"/>
              </a:ext>
            </a:extLst>
          </p:cNvPr>
          <p:cNvSpPr txBox="1"/>
          <p:nvPr/>
        </p:nvSpPr>
        <p:spPr>
          <a:xfrm>
            <a:off x="684269" y="5501011"/>
            <a:ext cx="74696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800" b="1" dirty="0">
                <a:solidFill>
                  <a:schemeClr val="bg1"/>
                </a:solidFill>
              </a:rPr>
              <a:t>Date : 7-Sept-2024</a:t>
            </a:r>
          </a:p>
        </p:txBody>
      </p:sp>
    </p:spTree>
    <p:extLst>
      <p:ext uri="{BB962C8B-B14F-4D97-AF65-F5344CB8AC3E}">
        <p14:creationId xmlns:p14="http://schemas.microsoft.com/office/powerpoint/2010/main" val="3267775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34469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3 | Relevance for Shell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0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0495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dirty="0"/>
              <a:t>Shell predominantly uses Microsoft azure for its cloud needs, leveraging Azure’s services for scalable infrastructure, data storage and computing power</a:t>
            </a:r>
          </a:p>
          <a:p>
            <a:pPr marL="0" indent="0">
              <a:buNone/>
            </a:pPr>
            <a:endParaRPr lang="en-US" sz="1800" dirty="0"/>
          </a:p>
          <a:p>
            <a:pPr marL="0" indent="0">
              <a:buNone/>
            </a:pPr>
            <a:r>
              <a:rPr lang="en-US" sz="1800" dirty="0"/>
              <a:t>Benefits for Shell</a:t>
            </a:r>
          </a:p>
          <a:p>
            <a:pPr marL="0" indent="0">
              <a:buNone/>
            </a:pPr>
            <a:r>
              <a:rPr lang="en-US" sz="1800" dirty="0"/>
              <a:t> Scalability</a:t>
            </a:r>
          </a:p>
          <a:p>
            <a:pPr marL="0" indent="0">
              <a:buNone/>
            </a:pPr>
            <a:r>
              <a:rPr lang="en-US" sz="1800" dirty="0"/>
              <a:t> Cost efficiency</a:t>
            </a:r>
          </a:p>
          <a:p>
            <a:pPr marL="0" indent="0">
              <a:buNone/>
            </a:pPr>
            <a:r>
              <a:rPr lang="en-US" sz="1800" dirty="0"/>
              <a:t>  Enhanced data management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000" dirty="0"/>
              <a:t>[Add a graphic that provides view of how Shell implements this learning]</a:t>
            </a:r>
          </a:p>
        </p:txBody>
      </p:sp>
      <p:pic>
        <p:nvPicPr>
          <p:cNvPr id="5" name="Graphic 4" descr="User network outline">
            <a:extLst>
              <a:ext uri="{FF2B5EF4-FFF2-40B4-BE49-F238E27FC236}">
                <a16:creationId xmlns:a16="http://schemas.microsoft.com/office/drawing/2014/main" id="{0916C17C-12F9-BFD4-9A8B-40B3CFCA8C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6359" y="120879"/>
            <a:ext cx="1180641" cy="1180641"/>
          </a:xfrm>
          <a:prstGeom prst="rect">
            <a:avLst/>
          </a:prstGeom>
        </p:spPr>
      </p:pic>
      <p:pic>
        <p:nvPicPr>
          <p:cNvPr id="3074" name="Picture 2">
            <a:extLst>
              <a:ext uri="{FF2B5EF4-FFF2-40B4-BE49-F238E27FC236}">
                <a16:creationId xmlns:a16="http://schemas.microsoft.com/office/drawing/2014/main" id="{8CA2772C-D759-EBFD-F3D9-DF72FC0CCAF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98068" y="2132115"/>
            <a:ext cx="4983209" cy="36526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636692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Challenges in implementing learning</a:t>
            </a:r>
            <a:endParaRPr lang="en-IN" sz="4000" dirty="0"/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F2FEB897-CC3D-F8EF-554F-5F219373693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16726" y="2866221"/>
            <a:ext cx="1125557" cy="1125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361709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30781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Challenge faced while implementing Learning 1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2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70618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b="1" dirty="0"/>
              <a:t>Challenge:</a:t>
            </a:r>
            <a:r>
              <a:rPr lang="en-US" sz="2000" dirty="0"/>
              <a:t> There are many types of testing and it has been bit difficult to identify which one to use in which phase.</a:t>
            </a:r>
          </a:p>
          <a:p>
            <a:pPr marL="0" indent="0">
              <a:buNone/>
            </a:pPr>
            <a:r>
              <a:rPr lang="en-US" sz="2000" b="1" dirty="0"/>
              <a:t>Plan: </a:t>
            </a:r>
            <a:r>
              <a:rPr lang="en-US" sz="2000" dirty="0"/>
              <a:t>Study from web and other resources about testing to have more understanding on it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/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D0FBC2C9-FE71-44D5-391E-1BAA2958F5E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63741" y="168741"/>
            <a:ext cx="1125557" cy="1125557"/>
          </a:xfrm>
          <a:prstGeom prst="rect">
            <a:avLst/>
          </a:prstGeom>
        </p:spPr>
      </p:pic>
      <p:pic>
        <p:nvPicPr>
          <p:cNvPr id="4098" name="Picture 2">
            <a:extLst>
              <a:ext uri="{FF2B5EF4-FFF2-40B4-BE49-F238E27FC236}">
                <a16:creationId xmlns:a16="http://schemas.microsoft.com/office/drawing/2014/main" id="{48345ACE-4946-9EA8-B68F-CF9B99F973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1616" y="1891409"/>
            <a:ext cx="5268190" cy="405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4094418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26476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Challenge faced while implementing Learning 2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3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b="1" dirty="0"/>
              <a:t>Challenge: </a:t>
            </a:r>
            <a:r>
              <a:rPr lang="en-US" sz="2000" dirty="0"/>
              <a:t>Integrating </a:t>
            </a:r>
            <a:r>
              <a:rPr lang="en-US" sz="2000" dirty="0" err="1"/>
              <a:t>github</a:t>
            </a:r>
            <a:r>
              <a:rPr lang="en-US" sz="2000" dirty="0"/>
              <a:t> actions into CI/CD pipelines was complex. I was having difficulty in grasping </a:t>
            </a:r>
            <a:r>
              <a:rPr lang="en-US" sz="2000" dirty="0" err="1"/>
              <a:t>yaml</a:t>
            </a:r>
            <a:r>
              <a:rPr lang="en-US" sz="2000" dirty="0"/>
              <a:t> syntax 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b="1" dirty="0"/>
              <a:t>Plan: </a:t>
            </a:r>
            <a:r>
              <a:rPr lang="en-US" sz="2000" dirty="0"/>
              <a:t>Kept trying until I get the flow of it and study from web resources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000" dirty="0"/>
              <a:t>[Add a graphic that provides evidence of what you did to overcome this challenge]</a:t>
            </a:r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D0FBC2C9-FE71-44D5-391E-1BAA2958F5E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63741" y="168741"/>
            <a:ext cx="1125557" cy="1125557"/>
          </a:xfrm>
          <a:prstGeom prst="rect">
            <a:avLst/>
          </a:prstGeom>
        </p:spPr>
      </p:pic>
      <p:pic>
        <p:nvPicPr>
          <p:cNvPr id="8" name="Picture 7" descr="A diagram of a computer&#10;&#10;Description automatically generated">
            <a:extLst>
              <a:ext uri="{FF2B5EF4-FFF2-40B4-BE49-F238E27FC236}">
                <a16:creationId xmlns:a16="http://schemas.microsoft.com/office/drawing/2014/main" id="{F61A4B02-60FA-14F4-7A72-6D53EF8CFA9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91173" y="2132115"/>
            <a:ext cx="5216894" cy="37104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914825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76622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Challenge faced while implementing Learning 3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4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b="1" dirty="0"/>
              <a:t>Challenge: </a:t>
            </a:r>
            <a:r>
              <a:rPr lang="en-US" sz="2000" dirty="0"/>
              <a:t>I have difficulty in using Azure portal while creating VM as it is completely new website for me.</a:t>
            </a:r>
          </a:p>
          <a:p>
            <a:pPr marL="0" indent="0">
              <a:buNone/>
            </a:pPr>
            <a:r>
              <a:rPr lang="en-US" sz="2000" b="1" dirty="0"/>
              <a:t>Plan: </a:t>
            </a:r>
            <a:r>
              <a:rPr lang="en-US" sz="2000" dirty="0"/>
              <a:t>I kept exploring the Azure portal in my free time so that I would be familiarized with the website</a:t>
            </a:r>
            <a:endParaRPr lang="en-US" sz="2000" b="1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51368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000" dirty="0"/>
              <a:t>[Add a graphic that provides evidence of what you did to overcome this challenge]</a:t>
            </a:r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D0FBC2C9-FE71-44D5-391E-1BAA2958F5E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63741" y="168741"/>
            <a:ext cx="1125557" cy="1125557"/>
          </a:xfrm>
          <a:prstGeom prst="rect">
            <a:avLst/>
          </a:prstGeom>
        </p:spPr>
      </p:pic>
      <p:pic>
        <p:nvPicPr>
          <p:cNvPr id="8" name="Picture 7" descr="A screenshot of a computer&#10;&#10;Description automatically generated">
            <a:extLst>
              <a:ext uri="{FF2B5EF4-FFF2-40B4-BE49-F238E27FC236}">
                <a16:creationId xmlns:a16="http://schemas.microsoft.com/office/drawing/2014/main" id="{3EE70362-B1A8-82E7-8133-AD668952A27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0799" y="1860992"/>
            <a:ext cx="5226519" cy="40666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020408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Action Plan</a:t>
            </a:r>
            <a:endParaRPr lang="en-IN" sz="4000" dirty="0"/>
          </a:p>
        </p:txBody>
      </p:sp>
      <p:pic>
        <p:nvPicPr>
          <p:cNvPr id="4" name="Graphic 3" descr="Steps icon">
            <a:extLst>
              <a:ext uri="{FF2B5EF4-FFF2-40B4-BE49-F238E27FC236}">
                <a16:creationId xmlns:a16="http://schemas.microsoft.com/office/drawing/2014/main" id="{B5F8A401-110E-E4BD-2FD5-DBD699116CE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92471" y="2893076"/>
            <a:ext cx="1049813" cy="1049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4341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67996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My Action Plan for this Week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6</a:t>
            </a:fld>
            <a:endParaRPr lang="en-IN" dirty="0"/>
          </a:p>
        </p:txBody>
      </p:sp>
      <p:pic>
        <p:nvPicPr>
          <p:cNvPr id="5" name="Graphic 4" descr="Steps icon">
            <a:extLst>
              <a:ext uri="{FF2B5EF4-FFF2-40B4-BE49-F238E27FC236}">
                <a16:creationId xmlns:a16="http://schemas.microsoft.com/office/drawing/2014/main" id="{B5EEB56D-B388-3B36-90D7-E1D1797C4F6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001613" y="206613"/>
            <a:ext cx="1049813" cy="1049813"/>
          </a:xfrm>
          <a:prstGeom prst="rect">
            <a:avLst/>
          </a:prstGeom>
        </p:spPr>
      </p:pic>
      <p:sp>
        <p:nvSpPr>
          <p:cNvPr id="18" name="Text Placeholder 25">
            <a:extLst>
              <a:ext uri="{FF2B5EF4-FFF2-40B4-BE49-F238E27FC236}">
                <a16:creationId xmlns:a16="http://schemas.microsoft.com/office/drawing/2014/main" id="{6C73795A-BE20-7075-E9C6-6F145CE60794}"/>
              </a:ext>
            </a:extLst>
          </p:cNvPr>
          <p:cNvSpPr txBox="1">
            <a:spLocks/>
          </p:cNvSpPr>
          <p:nvPr/>
        </p:nvSpPr>
        <p:spPr>
          <a:xfrm>
            <a:off x="825971" y="1963738"/>
            <a:ext cx="3060802" cy="433064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Understand different types of testing and learn different tools used for testing</a:t>
            </a:r>
          </a:p>
          <a:p>
            <a:pPr marL="0" indent="0" algn="ctr">
              <a:buFont typeface="Arial" panose="020B0604020202020204" pitchFamily="34" charset="0"/>
              <a:buNone/>
            </a:pPr>
            <a:endParaRPr lang="en-US" sz="20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Have a hands on practice on azure </a:t>
            </a:r>
            <a:r>
              <a:rPr lang="en-US" sz="20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evops</a:t>
            </a:r>
            <a:endParaRPr lang="en-US" sz="20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0" indent="0" algn="ctr">
              <a:buFont typeface="Arial" panose="020B0604020202020204" pitchFamily="34" charset="0"/>
              <a:buNone/>
            </a:pPr>
            <a:endParaRPr lang="en-US" sz="20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o be more clear about </a:t>
            </a:r>
            <a:r>
              <a:rPr lang="en-US" sz="20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github</a:t>
            </a: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actions</a:t>
            </a:r>
          </a:p>
          <a:p>
            <a:pPr marL="0" indent="0" algn="ctr">
              <a:buFont typeface="Arial" panose="020B0604020202020204" pitchFamily="34" charset="0"/>
              <a:buNone/>
            </a:pPr>
            <a:endParaRPr lang="en-US" sz="20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9" name="Text Placeholder 32">
            <a:extLst>
              <a:ext uri="{FF2B5EF4-FFF2-40B4-BE49-F238E27FC236}">
                <a16:creationId xmlns:a16="http://schemas.microsoft.com/office/drawing/2014/main" id="{A3E2F4D1-4417-E244-3DB9-A6FF5866A342}"/>
              </a:ext>
            </a:extLst>
          </p:cNvPr>
          <p:cNvSpPr txBox="1">
            <a:spLocks/>
          </p:cNvSpPr>
          <p:nvPr/>
        </p:nvSpPr>
        <p:spPr>
          <a:xfrm>
            <a:off x="4104451" y="1950811"/>
            <a:ext cx="3060802" cy="433064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 fontScale="92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endParaRPr lang="en-US" sz="20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0" indent="0" algn="ctr">
              <a:buFont typeface="Arial" panose="020B0604020202020204" pitchFamily="34" charset="0"/>
              <a:buNone/>
            </a:pPr>
            <a:endParaRPr lang="en-US" sz="20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0" indent="0" algn="ctr">
              <a:buFont typeface="Arial" panose="020B0604020202020204" pitchFamily="34" charset="0"/>
              <a:buNone/>
            </a:pPr>
            <a:endParaRPr lang="en-US" sz="20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0" indent="0" algn="ctr">
              <a:buFont typeface="Arial" panose="020B0604020202020204" pitchFamily="34" charset="0"/>
              <a:buNone/>
            </a:pPr>
            <a:endParaRPr lang="en-US" sz="20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ad 30 minutes per day</a:t>
            </a:r>
          </a:p>
          <a:p>
            <a:pPr marL="0" indent="0" algn="ctr">
              <a:buFont typeface="Arial" panose="020B0604020202020204" pitchFamily="34" charset="0"/>
              <a:buNone/>
            </a:pPr>
            <a:endParaRPr lang="en-US" sz="20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0" indent="0" algn="ctr">
              <a:buFont typeface="Arial" panose="020B0604020202020204" pitchFamily="34" charset="0"/>
              <a:buNone/>
            </a:pPr>
            <a:endParaRPr lang="en-US" sz="20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0" indent="0" algn="ctr">
              <a:buFont typeface="Arial" panose="020B0604020202020204" pitchFamily="34" charset="0"/>
              <a:buNone/>
            </a:pPr>
            <a:endParaRPr lang="en-US" sz="20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actice 20 minutes per day</a:t>
            </a:r>
          </a:p>
          <a:p>
            <a:pPr marL="0" indent="0" algn="ctr">
              <a:buFont typeface="Arial" panose="020B0604020202020204" pitchFamily="34" charset="0"/>
              <a:buNone/>
            </a:pPr>
            <a:endParaRPr lang="en-US" sz="20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0" indent="0" algn="ctr">
              <a:buFont typeface="Arial" panose="020B0604020202020204" pitchFamily="34" charset="0"/>
              <a:buNone/>
            </a:pPr>
            <a:endParaRPr lang="en-US" sz="20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ad 15 minutes per day</a:t>
            </a:r>
          </a:p>
          <a:p>
            <a:pPr marL="0" indent="0" algn="ctr">
              <a:buFont typeface="Arial" panose="020B0604020202020204" pitchFamily="34" charset="0"/>
              <a:buNone/>
            </a:pPr>
            <a:endParaRPr lang="en-US" sz="20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0" indent="0" algn="ctr">
              <a:buFont typeface="Arial" panose="020B0604020202020204" pitchFamily="34" charset="0"/>
              <a:buNone/>
            </a:pPr>
            <a:endParaRPr lang="en-US" sz="20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0" indent="0" algn="ctr">
              <a:buFont typeface="Arial" panose="020B0604020202020204" pitchFamily="34" charset="0"/>
              <a:buNone/>
            </a:pPr>
            <a:endParaRPr lang="en-US" sz="20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0" indent="0" algn="ctr">
              <a:buFont typeface="Arial" panose="020B0604020202020204" pitchFamily="34" charset="0"/>
              <a:buNone/>
            </a:pPr>
            <a:endParaRPr lang="en-US" sz="20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0" indent="0" algn="ctr">
              <a:buFont typeface="Arial" panose="020B0604020202020204" pitchFamily="34" charset="0"/>
              <a:buNone/>
            </a:pPr>
            <a:endParaRPr lang="en-US" sz="20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0" indent="0" algn="ctr">
              <a:buFont typeface="Arial" panose="020B0604020202020204" pitchFamily="34" charset="0"/>
              <a:buNone/>
            </a:pPr>
            <a:endParaRPr lang="en-US" sz="20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0" name="Text Placeholder 33">
            <a:extLst>
              <a:ext uri="{FF2B5EF4-FFF2-40B4-BE49-F238E27FC236}">
                <a16:creationId xmlns:a16="http://schemas.microsoft.com/office/drawing/2014/main" id="{3EBEB0AC-D407-44FD-A74F-90F67F3D13C3}"/>
              </a:ext>
            </a:extLst>
          </p:cNvPr>
          <p:cNvSpPr txBox="1">
            <a:spLocks/>
          </p:cNvSpPr>
          <p:nvPr/>
        </p:nvSpPr>
        <p:spPr>
          <a:xfrm>
            <a:off x="7379732" y="1945213"/>
            <a:ext cx="3060802" cy="433064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 fontScale="850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endParaRPr lang="en-US" sz="20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0" indent="0" algn="ctr">
              <a:buFont typeface="Arial" panose="020B0604020202020204" pitchFamily="34" charset="0"/>
              <a:buNone/>
            </a:pPr>
            <a:endParaRPr lang="en-US" sz="20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Have a clear understanding on why testing is important and how it ensures reliability of product</a:t>
            </a:r>
          </a:p>
          <a:p>
            <a:pPr marL="0" indent="0" algn="ctr">
              <a:buFont typeface="Arial" panose="020B0604020202020204" pitchFamily="34" charset="0"/>
              <a:buNone/>
            </a:pPr>
            <a:endParaRPr lang="en-US" sz="20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0" indent="0" algn="ctr">
              <a:buFont typeface="Arial" panose="020B0604020202020204" pitchFamily="34" charset="0"/>
              <a:buNone/>
            </a:pPr>
            <a:endParaRPr lang="en-US" sz="20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0" indent="0" algn="ctr">
              <a:buFont typeface="Arial" panose="020B0604020202020204" pitchFamily="34" charset="0"/>
              <a:buNone/>
            </a:pPr>
            <a:endParaRPr lang="en-US" sz="20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Got familiarized with azure </a:t>
            </a:r>
            <a:r>
              <a:rPr lang="en-US" sz="20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evops</a:t>
            </a:r>
            <a:endParaRPr lang="en-US" sz="20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0" indent="0" algn="ctr">
              <a:buFont typeface="Arial" panose="020B0604020202020204" pitchFamily="34" charset="0"/>
              <a:buNone/>
            </a:pPr>
            <a:endParaRPr lang="en-US" sz="20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0" indent="0" algn="ctr">
              <a:buFont typeface="Arial" panose="020B0604020202020204" pitchFamily="34" charset="0"/>
              <a:buNone/>
            </a:pPr>
            <a:endParaRPr lang="en-US" sz="20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Have a clear overview on </a:t>
            </a:r>
            <a:r>
              <a:rPr lang="en-US" sz="20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github</a:t>
            </a: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actions</a:t>
            </a:r>
          </a:p>
          <a:p>
            <a:pPr marL="0" indent="0" algn="ctr">
              <a:buFont typeface="Arial" panose="020B0604020202020204" pitchFamily="34" charset="0"/>
              <a:buNone/>
            </a:pPr>
            <a:endParaRPr lang="en-US" sz="20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0" indent="0" algn="ctr">
              <a:buFont typeface="Arial" panose="020B0604020202020204" pitchFamily="34" charset="0"/>
              <a:buNone/>
            </a:pPr>
            <a:endParaRPr lang="en-US" sz="20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F8FD767-7EE2-8BA3-9320-45A7293391FF}"/>
              </a:ext>
            </a:extLst>
          </p:cNvPr>
          <p:cNvSpPr/>
          <p:nvPr/>
        </p:nvSpPr>
        <p:spPr>
          <a:xfrm>
            <a:off x="825971" y="1256426"/>
            <a:ext cx="3060802" cy="613014"/>
          </a:xfrm>
          <a:prstGeom prst="rect">
            <a:avLst/>
          </a:prstGeom>
          <a:solidFill>
            <a:schemeClr val="tx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b="1" dirty="0"/>
              <a:t>Action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9289516E-B769-4A13-DD90-39AC62DED9BD}"/>
              </a:ext>
            </a:extLst>
          </p:cNvPr>
          <p:cNvSpPr/>
          <p:nvPr/>
        </p:nvSpPr>
        <p:spPr>
          <a:xfrm>
            <a:off x="4104451" y="1256426"/>
            <a:ext cx="3060802" cy="613014"/>
          </a:xfrm>
          <a:prstGeom prst="rect">
            <a:avLst/>
          </a:prstGeom>
          <a:solidFill>
            <a:schemeClr val="tx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b="1" dirty="0"/>
              <a:t>Timeline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461DDA7-0DFB-87EE-DF38-AA6219713C1B}"/>
              </a:ext>
            </a:extLst>
          </p:cNvPr>
          <p:cNvSpPr/>
          <p:nvPr/>
        </p:nvSpPr>
        <p:spPr>
          <a:xfrm>
            <a:off x="7379732" y="1250646"/>
            <a:ext cx="3060802" cy="613014"/>
          </a:xfrm>
          <a:prstGeom prst="rect">
            <a:avLst/>
          </a:prstGeom>
          <a:solidFill>
            <a:schemeClr val="tx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b="1" dirty="0"/>
              <a:t>Status</a:t>
            </a:r>
          </a:p>
        </p:txBody>
      </p:sp>
      <p:grpSp>
        <p:nvGrpSpPr>
          <p:cNvPr id="24" name="Group 23" descr="thumbs up icon">
            <a:extLst>
              <a:ext uri="{FF2B5EF4-FFF2-40B4-BE49-F238E27FC236}">
                <a16:creationId xmlns:a16="http://schemas.microsoft.com/office/drawing/2014/main" id="{DCA04876-65F9-DDA2-9E8E-9D570857B2A5}"/>
              </a:ext>
            </a:extLst>
          </p:cNvPr>
          <p:cNvGrpSpPr/>
          <p:nvPr/>
        </p:nvGrpSpPr>
        <p:grpSpPr>
          <a:xfrm>
            <a:off x="10965805" y="2219370"/>
            <a:ext cx="823913" cy="823913"/>
            <a:chOff x="744537" y="2086166"/>
            <a:chExt cx="823913" cy="823913"/>
          </a:xfrm>
          <a:solidFill>
            <a:schemeClr val="bg1"/>
          </a:solidFill>
        </p:grpSpPr>
        <p:sp>
          <p:nvSpPr>
            <p:cNvPr id="25" name="Oval 68">
              <a:extLst>
                <a:ext uri="{FF2B5EF4-FFF2-40B4-BE49-F238E27FC236}">
                  <a16:creationId xmlns:a16="http://schemas.microsoft.com/office/drawing/2014/main" id="{3A38CCAC-78C9-81D4-1E36-CB51C71661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4537" y="2086166"/>
              <a:ext cx="823913" cy="8239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5715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Open Sans Light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Open Sans Light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9pPr>
            </a:lstStyle>
            <a:p>
              <a:pPr eaLnBrk="1" hangingPunct="1"/>
              <a:endParaRPr lang="en-US" altLang="en-US" dirty="0"/>
            </a:p>
          </p:txBody>
        </p:sp>
        <p:sp>
          <p:nvSpPr>
            <p:cNvPr id="26" name="Freeform 65">
              <a:extLst>
                <a:ext uri="{FF2B5EF4-FFF2-40B4-BE49-F238E27FC236}">
                  <a16:creationId xmlns:a16="http://schemas.microsoft.com/office/drawing/2014/main" id="{E083201A-5603-E7AE-C4E0-0A003C89B46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84536" y="2278488"/>
              <a:ext cx="358468" cy="351052"/>
            </a:xfrm>
            <a:custGeom>
              <a:avLst/>
              <a:gdLst>
                <a:gd name="T0" fmla="*/ 358468 w 188"/>
                <a:gd name="T1" fmla="*/ 181250 h 184"/>
                <a:gd name="T2" fmla="*/ 257411 w 188"/>
                <a:gd name="T3" fmla="*/ 135460 h 184"/>
                <a:gd name="T4" fmla="*/ 257411 w 188"/>
                <a:gd name="T5" fmla="*/ 125921 h 184"/>
                <a:gd name="T6" fmla="*/ 286012 w 188"/>
                <a:gd name="T7" fmla="*/ 70592 h 184"/>
                <a:gd name="T8" fmla="*/ 263131 w 188"/>
                <a:gd name="T9" fmla="*/ 5724 h 184"/>
                <a:gd name="T10" fmla="*/ 226903 w 188"/>
                <a:gd name="T11" fmla="*/ 34342 h 184"/>
                <a:gd name="T12" fmla="*/ 179234 w 188"/>
                <a:gd name="T13" fmla="*/ 104934 h 184"/>
                <a:gd name="T14" fmla="*/ 133472 w 188"/>
                <a:gd name="T15" fmla="*/ 175526 h 184"/>
                <a:gd name="T16" fmla="*/ 97244 w 188"/>
                <a:gd name="T17" fmla="*/ 160263 h 184"/>
                <a:gd name="T18" fmla="*/ 0 w 188"/>
                <a:gd name="T19" fmla="*/ 177434 h 184"/>
                <a:gd name="T20" fmla="*/ 17161 w 188"/>
                <a:gd name="T21" fmla="*/ 351052 h 184"/>
                <a:gd name="T22" fmla="*/ 114405 w 188"/>
                <a:gd name="T23" fmla="*/ 337697 h 184"/>
                <a:gd name="T24" fmla="*/ 139192 w 188"/>
                <a:gd name="T25" fmla="*/ 351052 h 184"/>
                <a:gd name="T26" fmla="*/ 143006 w 188"/>
                <a:gd name="T27" fmla="*/ 351052 h 184"/>
                <a:gd name="T28" fmla="*/ 299359 w 188"/>
                <a:gd name="T29" fmla="*/ 351052 h 184"/>
                <a:gd name="T30" fmla="*/ 333680 w 188"/>
                <a:gd name="T31" fmla="*/ 307171 h 184"/>
                <a:gd name="T32" fmla="*/ 343214 w 188"/>
                <a:gd name="T33" fmla="*/ 257565 h 184"/>
                <a:gd name="T34" fmla="*/ 348934 w 188"/>
                <a:gd name="T35" fmla="*/ 206052 h 184"/>
                <a:gd name="T36" fmla="*/ 97244 w 188"/>
                <a:gd name="T37" fmla="*/ 335789 h 184"/>
                <a:gd name="T38" fmla="*/ 15254 w 188"/>
                <a:gd name="T39" fmla="*/ 333881 h 184"/>
                <a:gd name="T40" fmla="*/ 17161 w 188"/>
                <a:gd name="T41" fmla="*/ 175526 h 184"/>
                <a:gd name="T42" fmla="*/ 99151 w 188"/>
                <a:gd name="T43" fmla="*/ 177434 h 184"/>
                <a:gd name="T44" fmla="*/ 335587 w 188"/>
                <a:gd name="T45" fmla="*/ 198421 h 184"/>
                <a:gd name="T46" fmla="*/ 333680 w 188"/>
                <a:gd name="T47" fmla="*/ 209868 h 184"/>
                <a:gd name="T48" fmla="*/ 329867 w 188"/>
                <a:gd name="T49" fmla="*/ 249934 h 184"/>
                <a:gd name="T50" fmla="*/ 327960 w 188"/>
                <a:gd name="T51" fmla="*/ 261381 h 184"/>
                <a:gd name="T52" fmla="*/ 320333 w 188"/>
                <a:gd name="T53" fmla="*/ 297631 h 184"/>
                <a:gd name="T54" fmla="*/ 318426 w 188"/>
                <a:gd name="T55" fmla="*/ 307171 h 184"/>
                <a:gd name="T56" fmla="*/ 299359 w 188"/>
                <a:gd name="T57" fmla="*/ 335789 h 184"/>
                <a:gd name="T58" fmla="*/ 133472 w 188"/>
                <a:gd name="T59" fmla="*/ 330065 h 184"/>
                <a:gd name="T60" fmla="*/ 114405 w 188"/>
                <a:gd name="T61" fmla="*/ 190789 h 184"/>
                <a:gd name="T62" fmla="*/ 137286 w 188"/>
                <a:gd name="T63" fmla="*/ 190789 h 184"/>
                <a:gd name="T64" fmla="*/ 169700 w 188"/>
                <a:gd name="T65" fmla="*/ 152631 h 184"/>
                <a:gd name="T66" fmla="*/ 192581 w 188"/>
                <a:gd name="T67" fmla="*/ 112566 h 184"/>
                <a:gd name="T68" fmla="*/ 247877 w 188"/>
                <a:gd name="T69" fmla="*/ 19079 h 184"/>
                <a:gd name="T70" fmla="*/ 272664 w 188"/>
                <a:gd name="T71" fmla="*/ 66776 h 184"/>
                <a:gd name="T72" fmla="*/ 244063 w 188"/>
                <a:gd name="T73" fmla="*/ 145000 h 184"/>
                <a:gd name="T74" fmla="*/ 308893 w 188"/>
                <a:gd name="T75" fmla="*/ 150723 h 184"/>
                <a:gd name="T76" fmla="*/ 335587 w 188"/>
                <a:gd name="T77" fmla="*/ 198421 h 184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188" h="184">
                  <a:moveTo>
                    <a:pt x="183" y="108"/>
                  </a:moveTo>
                  <a:cubicBezTo>
                    <a:pt x="185" y="105"/>
                    <a:pt x="188" y="101"/>
                    <a:pt x="188" y="95"/>
                  </a:cubicBezTo>
                  <a:cubicBezTo>
                    <a:pt x="188" y="78"/>
                    <a:pt x="172" y="72"/>
                    <a:pt x="163" y="71"/>
                  </a:cubicBezTo>
                  <a:cubicBezTo>
                    <a:pt x="135" y="71"/>
                    <a:pt x="135" y="71"/>
                    <a:pt x="135" y="71"/>
                  </a:cubicBezTo>
                  <a:cubicBezTo>
                    <a:pt x="135" y="71"/>
                    <a:pt x="135" y="71"/>
                    <a:pt x="135" y="71"/>
                  </a:cubicBezTo>
                  <a:cubicBezTo>
                    <a:pt x="133" y="69"/>
                    <a:pt x="135" y="66"/>
                    <a:pt x="135" y="66"/>
                  </a:cubicBezTo>
                  <a:cubicBezTo>
                    <a:pt x="135" y="66"/>
                    <a:pt x="135" y="66"/>
                    <a:pt x="135" y="66"/>
                  </a:cubicBezTo>
                  <a:cubicBezTo>
                    <a:pt x="136" y="66"/>
                    <a:pt x="144" y="55"/>
                    <a:pt x="150" y="37"/>
                  </a:cubicBezTo>
                  <a:cubicBezTo>
                    <a:pt x="157" y="18"/>
                    <a:pt x="140" y="4"/>
                    <a:pt x="139" y="3"/>
                  </a:cubicBezTo>
                  <a:cubicBezTo>
                    <a:pt x="138" y="3"/>
                    <a:pt x="138" y="3"/>
                    <a:pt x="138" y="3"/>
                  </a:cubicBezTo>
                  <a:cubicBezTo>
                    <a:pt x="138" y="3"/>
                    <a:pt x="132" y="0"/>
                    <a:pt x="126" y="4"/>
                  </a:cubicBezTo>
                  <a:cubicBezTo>
                    <a:pt x="122" y="6"/>
                    <a:pt x="119" y="11"/>
                    <a:pt x="119" y="18"/>
                  </a:cubicBezTo>
                  <a:cubicBezTo>
                    <a:pt x="117" y="34"/>
                    <a:pt x="103" y="48"/>
                    <a:pt x="97" y="53"/>
                  </a:cubicBezTo>
                  <a:cubicBezTo>
                    <a:pt x="96" y="54"/>
                    <a:pt x="95" y="54"/>
                    <a:pt x="94" y="55"/>
                  </a:cubicBezTo>
                  <a:cubicBezTo>
                    <a:pt x="90" y="59"/>
                    <a:pt x="85" y="69"/>
                    <a:pt x="82" y="76"/>
                  </a:cubicBezTo>
                  <a:cubicBezTo>
                    <a:pt x="79" y="81"/>
                    <a:pt x="73" y="89"/>
                    <a:pt x="70" y="92"/>
                  </a:cubicBezTo>
                  <a:cubicBezTo>
                    <a:pt x="67" y="92"/>
                    <a:pt x="63" y="92"/>
                    <a:pt x="60" y="92"/>
                  </a:cubicBezTo>
                  <a:cubicBezTo>
                    <a:pt x="59" y="88"/>
                    <a:pt x="55" y="84"/>
                    <a:pt x="51" y="84"/>
                  </a:cubicBezTo>
                  <a:cubicBezTo>
                    <a:pt x="9" y="84"/>
                    <a:pt x="9" y="84"/>
                    <a:pt x="9" y="84"/>
                  </a:cubicBezTo>
                  <a:cubicBezTo>
                    <a:pt x="4" y="84"/>
                    <a:pt x="0" y="88"/>
                    <a:pt x="0" y="93"/>
                  </a:cubicBezTo>
                  <a:cubicBezTo>
                    <a:pt x="0" y="175"/>
                    <a:pt x="0" y="175"/>
                    <a:pt x="0" y="175"/>
                  </a:cubicBezTo>
                  <a:cubicBezTo>
                    <a:pt x="0" y="180"/>
                    <a:pt x="4" y="184"/>
                    <a:pt x="9" y="184"/>
                  </a:cubicBezTo>
                  <a:cubicBezTo>
                    <a:pt x="51" y="184"/>
                    <a:pt x="51" y="184"/>
                    <a:pt x="51" y="184"/>
                  </a:cubicBezTo>
                  <a:cubicBezTo>
                    <a:pt x="56" y="184"/>
                    <a:pt x="59" y="181"/>
                    <a:pt x="60" y="177"/>
                  </a:cubicBezTo>
                  <a:cubicBezTo>
                    <a:pt x="62" y="177"/>
                    <a:pt x="63" y="175"/>
                    <a:pt x="64" y="175"/>
                  </a:cubicBezTo>
                  <a:cubicBezTo>
                    <a:pt x="65" y="177"/>
                    <a:pt x="67" y="181"/>
                    <a:pt x="73" y="184"/>
                  </a:cubicBezTo>
                  <a:cubicBezTo>
                    <a:pt x="74" y="184"/>
                    <a:pt x="74" y="184"/>
                    <a:pt x="74" y="184"/>
                  </a:cubicBezTo>
                  <a:cubicBezTo>
                    <a:pt x="75" y="184"/>
                    <a:pt x="75" y="184"/>
                    <a:pt x="75" y="184"/>
                  </a:cubicBezTo>
                  <a:cubicBezTo>
                    <a:pt x="75" y="184"/>
                    <a:pt x="103" y="184"/>
                    <a:pt x="129" y="184"/>
                  </a:cubicBezTo>
                  <a:cubicBezTo>
                    <a:pt x="142" y="184"/>
                    <a:pt x="153" y="184"/>
                    <a:pt x="157" y="184"/>
                  </a:cubicBezTo>
                  <a:cubicBezTo>
                    <a:pt x="165" y="184"/>
                    <a:pt x="170" y="180"/>
                    <a:pt x="172" y="177"/>
                  </a:cubicBezTo>
                  <a:cubicBezTo>
                    <a:pt x="176" y="172"/>
                    <a:pt x="176" y="165"/>
                    <a:pt x="175" y="161"/>
                  </a:cubicBezTo>
                  <a:cubicBezTo>
                    <a:pt x="181" y="156"/>
                    <a:pt x="181" y="147"/>
                    <a:pt x="181" y="143"/>
                  </a:cubicBezTo>
                  <a:cubicBezTo>
                    <a:pt x="182" y="140"/>
                    <a:pt x="181" y="138"/>
                    <a:pt x="180" y="135"/>
                  </a:cubicBezTo>
                  <a:cubicBezTo>
                    <a:pt x="183" y="133"/>
                    <a:pt x="186" y="127"/>
                    <a:pt x="186" y="120"/>
                  </a:cubicBezTo>
                  <a:cubicBezTo>
                    <a:pt x="187" y="115"/>
                    <a:pt x="185" y="110"/>
                    <a:pt x="183" y="108"/>
                  </a:cubicBezTo>
                  <a:close/>
                  <a:moveTo>
                    <a:pt x="52" y="175"/>
                  </a:moveTo>
                  <a:cubicBezTo>
                    <a:pt x="52" y="176"/>
                    <a:pt x="52" y="176"/>
                    <a:pt x="51" y="176"/>
                  </a:cubicBezTo>
                  <a:cubicBezTo>
                    <a:pt x="9" y="176"/>
                    <a:pt x="9" y="176"/>
                    <a:pt x="9" y="176"/>
                  </a:cubicBezTo>
                  <a:cubicBezTo>
                    <a:pt x="9" y="176"/>
                    <a:pt x="8" y="176"/>
                    <a:pt x="8" y="175"/>
                  </a:cubicBezTo>
                  <a:cubicBezTo>
                    <a:pt x="8" y="93"/>
                    <a:pt x="8" y="93"/>
                    <a:pt x="8" y="93"/>
                  </a:cubicBezTo>
                  <a:cubicBezTo>
                    <a:pt x="8" y="93"/>
                    <a:pt x="9" y="92"/>
                    <a:pt x="9" y="92"/>
                  </a:cubicBezTo>
                  <a:cubicBezTo>
                    <a:pt x="51" y="92"/>
                    <a:pt x="51" y="92"/>
                    <a:pt x="51" y="92"/>
                  </a:cubicBezTo>
                  <a:cubicBezTo>
                    <a:pt x="52" y="92"/>
                    <a:pt x="52" y="93"/>
                    <a:pt x="52" y="93"/>
                  </a:cubicBezTo>
                  <a:lnTo>
                    <a:pt x="52" y="175"/>
                  </a:lnTo>
                  <a:close/>
                  <a:moveTo>
                    <a:pt x="176" y="104"/>
                  </a:moveTo>
                  <a:cubicBezTo>
                    <a:pt x="172" y="107"/>
                    <a:pt x="172" y="107"/>
                    <a:pt x="172" y="107"/>
                  </a:cubicBezTo>
                  <a:cubicBezTo>
                    <a:pt x="175" y="110"/>
                    <a:pt x="175" y="110"/>
                    <a:pt x="175" y="110"/>
                  </a:cubicBezTo>
                  <a:cubicBezTo>
                    <a:pt x="176" y="111"/>
                    <a:pt x="179" y="114"/>
                    <a:pt x="178" y="120"/>
                  </a:cubicBezTo>
                  <a:cubicBezTo>
                    <a:pt x="178" y="127"/>
                    <a:pt x="173" y="131"/>
                    <a:pt x="173" y="131"/>
                  </a:cubicBezTo>
                  <a:cubicBezTo>
                    <a:pt x="167" y="133"/>
                    <a:pt x="167" y="133"/>
                    <a:pt x="167" y="133"/>
                  </a:cubicBezTo>
                  <a:cubicBezTo>
                    <a:pt x="172" y="137"/>
                    <a:pt x="172" y="137"/>
                    <a:pt x="172" y="137"/>
                  </a:cubicBezTo>
                  <a:cubicBezTo>
                    <a:pt x="172" y="138"/>
                    <a:pt x="174" y="140"/>
                    <a:pt x="173" y="144"/>
                  </a:cubicBezTo>
                  <a:cubicBezTo>
                    <a:pt x="173" y="147"/>
                    <a:pt x="172" y="154"/>
                    <a:pt x="168" y="156"/>
                  </a:cubicBezTo>
                  <a:cubicBezTo>
                    <a:pt x="164" y="158"/>
                    <a:pt x="164" y="158"/>
                    <a:pt x="164" y="158"/>
                  </a:cubicBezTo>
                  <a:cubicBezTo>
                    <a:pt x="167" y="161"/>
                    <a:pt x="167" y="161"/>
                    <a:pt x="167" y="161"/>
                  </a:cubicBezTo>
                  <a:cubicBezTo>
                    <a:pt x="168" y="163"/>
                    <a:pt x="168" y="169"/>
                    <a:pt x="165" y="173"/>
                  </a:cubicBezTo>
                  <a:cubicBezTo>
                    <a:pt x="164" y="175"/>
                    <a:pt x="161" y="176"/>
                    <a:pt x="157" y="176"/>
                  </a:cubicBezTo>
                  <a:cubicBezTo>
                    <a:pt x="144" y="176"/>
                    <a:pt x="84" y="176"/>
                    <a:pt x="76" y="176"/>
                  </a:cubicBezTo>
                  <a:cubicBezTo>
                    <a:pt x="73" y="175"/>
                    <a:pt x="71" y="174"/>
                    <a:pt x="70" y="173"/>
                  </a:cubicBezTo>
                  <a:cubicBezTo>
                    <a:pt x="69" y="172"/>
                    <a:pt x="67" y="167"/>
                    <a:pt x="60" y="167"/>
                  </a:cubicBezTo>
                  <a:cubicBezTo>
                    <a:pt x="60" y="100"/>
                    <a:pt x="60" y="100"/>
                    <a:pt x="60" y="100"/>
                  </a:cubicBezTo>
                  <a:cubicBezTo>
                    <a:pt x="64" y="100"/>
                    <a:pt x="71" y="100"/>
                    <a:pt x="71" y="100"/>
                  </a:cubicBezTo>
                  <a:cubicBezTo>
                    <a:pt x="72" y="100"/>
                    <a:pt x="72" y="100"/>
                    <a:pt x="72" y="100"/>
                  </a:cubicBezTo>
                  <a:cubicBezTo>
                    <a:pt x="74" y="99"/>
                    <a:pt x="74" y="99"/>
                    <a:pt x="74" y="99"/>
                  </a:cubicBezTo>
                  <a:cubicBezTo>
                    <a:pt x="74" y="99"/>
                    <a:pt x="85" y="88"/>
                    <a:pt x="89" y="80"/>
                  </a:cubicBezTo>
                  <a:cubicBezTo>
                    <a:pt x="93" y="72"/>
                    <a:pt x="96" y="63"/>
                    <a:pt x="100" y="61"/>
                  </a:cubicBezTo>
                  <a:cubicBezTo>
                    <a:pt x="100" y="60"/>
                    <a:pt x="101" y="60"/>
                    <a:pt x="101" y="59"/>
                  </a:cubicBezTo>
                  <a:cubicBezTo>
                    <a:pt x="108" y="54"/>
                    <a:pt x="124" y="38"/>
                    <a:pt x="127" y="19"/>
                  </a:cubicBezTo>
                  <a:cubicBezTo>
                    <a:pt x="127" y="14"/>
                    <a:pt x="128" y="12"/>
                    <a:pt x="130" y="10"/>
                  </a:cubicBezTo>
                  <a:cubicBezTo>
                    <a:pt x="132" y="9"/>
                    <a:pt x="134" y="10"/>
                    <a:pt x="135" y="10"/>
                  </a:cubicBezTo>
                  <a:cubicBezTo>
                    <a:pt x="137" y="12"/>
                    <a:pt x="147" y="22"/>
                    <a:pt x="143" y="35"/>
                  </a:cubicBezTo>
                  <a:cubicBezTo>
                    <a:pt x="137" y="51"/>
                    <a:pt x="129" y="61"/>
                    <a:pt x="129" y="61"/>
                  </a:cubicBezTo>
                  <a:cubicBezTo>
                    <a:pt x="127" y="64"/>
                    <a:pt x="124" y="70"/>
                    <a:pt x="128" y="76"/>
                  </a:cubicBezTo>
                  <a:cubicBezTo>
                    <a:pt x="130" y="79"/>
                    <a:pt x="133" y="79"/>
                    <a:pt x="135" y="79"/>
                  </a:cubicBezTo>
                  <a:cubicBezTo>
                    <a:pt x="162" y="79"/>
                    <a:pt x="162" y="79"/>
                    <a:pt x="162" y="79"/>
                  </a:cubicBezTo>
                  <a:cubicBezTo>
                    <a:pt x="163" y="79"/>
                    <a:pt x="180" y="81"/>
                    <a:pt x="180" y="95"/>
                  </a:cubicBezTo>
                  <a:cubicBezTo>
                    <a:pt x="180" y="101"/>
                    <a:pt x="176" y="104"/>
                    <a:pt x="176" y="104"/>
                  </a:cubicBezTo>
                  <a:close/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27" name="Group 26" descr="clock icon">
            <a:extLst>
              <a:ext uri="{FF2B5EF4-FFF2-40B4-BE49-F238E27FC236}">
                <a16:creationId xmlns:a16="http://schemas.microsoft.com/office/drawing/2014/main" id="{B808CBE1-9B84-7818-F1B7-F6B6847390C9}"/>
              </a:ext>
            </a:extLst>
          </p:cNvPr>
          <p:cNvGrpSpPr/>
          <p:nvPr/>
        </p:nvGrpSpPr>
        <p:grpSpPr>
          <a:xfrm>
            <a:off x="10965805" y="3169273"/>
            <a:ext cx="823913" cy="823912"/>
            <a:chOff x="744537" y="3036069"/>
            <a:chExt cx="823913" cy="823912"/>
          </a:xfrm>
          <a:solidFill>
            <a:schemeClr val="bg1"/>
          </a:solidFill>
        </p:grpSpPr>
        <p:sp>
          <p:nvSpPr>
            <p:cNvPr id="28" name="Oval 68">
              <a:extLst>
                <a:ext uri="{FF2B5EF4-FFF2-40B4-BE49-F238E27FC236}">
                  <a16:creationId xmlns:a16="http://schemas.microsoft.com/office/drawing/2014/main" id="{0D5B9A7E-609B-61CB-6B76-65F108A044F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4537" y="3036069"/>
              <a:ext cx="823913" cy="823912"/>
            </a:xfrm>
            <a:prstGeom prst="ellipse">
              <a:avLst/>
            </a:prstGeom>
            <a:grpFill/>
            <a:ln>
              <a:noFill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Open Sans Light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Open Sans Light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9pPr>
            </a:lstStyle>
            <a:p>
              <a:pPr eaLnBrk="1" hangingPunct="1"/>
              <a:endParaRPr lang="en-US" altLang="en-US" dirty="0"/>
            </a:p>
          </p:txBody>
        </p:sp>
        <p:grpSp>
          <p:nvGrpSpPr>
            <p:cNvPr id="29" name="Group 28" descr="Clock">
              <a:extLst>
                <a:ext uri="{FF2B5EF4-FFF2-40B4-BE49-F238E27FC236}">
                  <a16:creationId xmlns:a16="http://schemas.microsoft.com/office/drawing/2014/main" id="{1C95187E-2D4F-6A0D-B336-8B096F1468D7}"/>
                </a:ext>
              </a:extLst>
            </p:cNvPr>
            <p:cNvGrpSpPr/>
            <p:nvPr/>
          </p:nvGrpSpPr>
          <p:grpSpPr bwMode="auto">
            <a:xfrm>
              <a:off x="982527" y="3270522"/>
              <a:ext cx="343634" cy="344872"/>
              <a:chOff x="9155465" y="4372601"/>
              <a:chExt cx="343634" cy="344872"/>
            </a:xfrm>
            <a:grpFill/>
          </p:grpSpPr>
          <p:sp>
            <p:nvSpPr>
              <p:cNvPr id="30" name="Freeform 158">
                <a:extLst>
                  <a:ext uri="{FF2B5EF4-FFF2-40B4-BE49-F238E27FC236}">
                    <a16:creationId xmlns:a16="http://schemas.microsoft.com/office/drawing/2014/main" id="{6A73770E-F6A1-75D7-11EF-CB4EC6F3B33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379198" y="4372601"/>
                <a:ext cx="119901" cy="101360"/>
              </a:xfrm>
              <a:custGeom>
                <a:avLst/>
                <a:gdLst>
                  <a:gd name="T0" fmla="*/ 50 w 63"/>
                  <a:gd name="T1" fmla="*/ 53 h 53"/>
                  <a:gd name="T2" fmla="*/ 47 w 63"/>
                  <a:gd name="T3" fmla="*/ 49 h 53"/>
                  <a:gd name="T4" fmla="*/ 4 w 63"/>
                  <a:gd name="T5" fmla="*/ 15 h 53"/>
                  <a:gd name="T6" fmla="*/ 0 w 63"/>
                  <a:gd name="T7" fmla="*/ 14 h 53"/>
                  <a:gd name="T8" fmla="*/ 2 w 63"/>
                  <a:gd name="T9" fmla="*/ 10 h 53"/>
                  <a:gd name="T10" fmla="*/ 19 w 63"/>
                  <a:gd name="T11" fmla="*/ 0 h 53"/>
                  <a:gd name="T12" fmla="*/ 42 w 63"/>
                  <a:gd name="T13" fmla="*/ 11 h 53"/>
                  <a:gd name="T14" fmla="*/ 52 w 63"/>
                  <a:gd name="T15" fmla="*/ 50 h 53"/>
                  <a:gd name="T16" fmla="*/ 50 w 63"/>
                  <a:gd name="T17" fmla="*/ 53 h 53"/>
                  <a:gd name="T18" fmla="*/ 10 w 63"/>
                  <a:gd name="T19" fmla="*/ 11 h 53"/>
                  <a:gd name="T20" fmla="*/ 50 w 63"/>
                  <a:gd name="T21" fmla="*/ 42 h 53"/>
                  <a:gd name="T22" fmla="*/ 39 w 63"/>
                  <a:gd name="T23" fmla="*/ 16 h 53"/>
                  <a:gd name="T24" fmla="*/ 19 w 63"/>
                  <a:gd name="T25" fmla="*/ 6 h 53"/>
                  <a:gd name="T26" fmla="*/ 10 w 63"/>
                  <a:gd name="T27" fmla="*/ 11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3" h="53">
                    <a:moveTo>
                      <a:pt x="50" y="53"/>
                    </a:moveTo>
                    <a:cubicBezTo>
                      <a:pt x="47" y="49"/>
                      <a:pt x="47" y="49"/>
                      <a:pt x="47" y="49"/>
                    </a:cubicBezTo>
                    <a:cubicBezTo>
                      <a:pt x="37" y="33"/>
                      <a:pt x="22" y="21"/>
                      <a:pt x="4" y="15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2" y="10"/>
                      <a:pt x="2" y="10"/>
                      <a:pt x="2" y="10"/>
                    </a:cubicBezTo>
                    <a:cubicBezTo>
                      <a:pt x="6" y="5"/>
                      <a:pt x="11" y="0"/>
                      <a:pt x="19" y="0"/>
                    </a:cubicBezTo>
                    <a:cubicBezTo>
                      <a:pt x="26" y="0"/>
                      <a:pt x="33" y="4"/>
                      <a:pt x="42" y="11"/>
                    </a:cubicBezTo>
                    <a:cubicBezTo>
                      <a:pt x="63" y="27"/>
                      <a:pt x="61" y="38"/>
                      <a:pt x="52" y="50"/>
                    </a:cubicBezTo>
                    <a:lnTo>
                      <a:pt x="50" y="53"/>
                    </a:lnTo>
                    <a:close/>
                    <a:moveTo>
                      <a:pt x="10" y="11"/>
                    </a:moveTo>
                    <a:cubicBezTo>
                      <a:pt x="26" y="17"/>
                      <a:pt x="40" y="28"/>
                      <a:pt x="50" y="42"/>
                    </a:cubicBezTo>
                    <a:cubicBezTo>
                      <a:pt x="54" y="36"/>
                      <a:pt x="55" y="29"/>
                      <a:pt x="39" y="16"/>
                    </a:cubicBezTo>
                    <a:cubicBezTo>
                      <a:pt x="30" y="9"/>
                      <a:pt x="24" y="6"/>
                      <a:pt x="19" y="6"/>
                    </a:cubicBezTo>
                    <a:cubicBezTo>
                      <a:pt x="16" y="6"/>
                      <a:pt x="13" y="8"/>
                      <a:pt x="10" y="11"/>
                    </a:cubicBez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1" name="Freeform 159">
                <a:extLst>
                  <a:ext uri="{FF2B5EF4-FFF2-40B4-BE49-F238E27FC236}">
                    <a16:creationId xmlns:a16="http://schemas.microsoft.com/office/drawing/2014/main" id="{3529665D-D778-71CC-E4C5-628FF603244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155465" y="4372601"/>
                <a:ext cx="119901" cy="101360"/>
              </a:xfrm>
              <a:custGeom>
                <a:avLst/>
                <a:gdLst>
                  <a:gd name="T0" fmla="*/ 13 w 63"/>
                  <a:gd name="T1" fmla="*/ 53 h 53"/>
                  <a:gd name="T2" fmla="*/ 10 w 63"/>
                  <a:gd name="T3" fmla="*/ 50 h 53"/>
                  <a:gd name="T4" fmla="*/ 20 w 63"/>
                  <a:gd name="T5" fmla="*/ 11 h 53"/>
                  <a:gd name="T6" fmla="*/ 44 w 63"/>
                  <a:gd name="T7" fmla="*/ 0 h 53"/>
                  <a:gd name="T8" fmla="*/ 60 w 63"/>
                  <a:gd name="T9" fmla="*/ 10 h 53"/>
                  <a:gd name="T10" fmla="*/ 63 w 63"/>
                  <a:gd name="T11" fmla="*/ 14 h 53"/>
                  <a:gd name="T12" fmla="*/ 59 w 63"/>
                  <a:gd name="T13" fmla="*/ 15 h 53"/>
                  <a:gd name="T14" fmla="*/ 15 w 63"/>
                  <a:gd name="T15" fmla="*/ 49 h 53"/>
                  <a:gd name="T16" fmla="*/ 13 w 63"/>
                  <a:gd name="T17" fmla="*/ 53 h 53"/>
                  <a:gd name="T18" fmla="*/ 44 w 63"/>
                  <a:gd name="T19" fmla="*/ 6 h 53"/>
                  <a:gd name="T20" fmla="*/ 24 w 63"/>
                  <a:gd name="T21" fmla="*/ 16 h 53"/>
                  <a:gd name="T22" fmla="*/ 13 w 63"/>
                  <a:gd name="T23" fmla="*/ 42 h 53"/>
                  <a:gd name="T24" fmla="*/ 53 w 63"/>
                  <a:gd name="T25" fmla="*/ 11 h 53"/>
                  <a:gd name="T26" fmla="*/ 44 w 63"/>
                  <a:gd name="T27" fmla="*/ 6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3" h="53">
                    <a:moveTo>
                      <a:pt x="13" y="53"/>
                    </a:moveTo>
                    <a:cubicBezTo>
                      <a:pt x="10" y="50"/>
                      <a:pt x="10" y="50"/>
                      <a:pt x="10" y="50"/>
                    </a:cubicBezTo>
                    <a:cubicBezTo>
                      <a:pt x="2" y="38"/>
                      <a:pt x="0" y="27"/>
                      <a:pt x="20" y="11"/>
                    </a:cubicBezTo>
                    <a:cubicBezTo>
                      <a:pt x="30" y="4"/>
                      <a:pt x="37" y="0"/>
                      <a:pt x="44" y="0"/>
                    </a:cubicBezTo>
                    <a:cubicBezTo>
                      <a:pt x="51" y="0"/>
                      <a:pt x="56" y="5"/>
                      <a:pt x="60" y="10"/>
                    </a:cubicBezTo>
                    <a:cubicBezTo>
                      <a:pt x="63" y="14"/>
                      <a:pt x="63" y="14"/>
                      <a:pt x="63" y="14"/>
                    </a:cubicBezTo>
                    <a:cubicBezTo>
                      <a:pt x="59" y="15"/>
                      <a:pt x="59" y="15"/>
                      <a:pt x="59" y="15"/>
                    </a:cubicBezTo>
                    <a:cubicBezTo>
                      <a:pt x="41" y="21"/>
                      <a:pt x="26" y="33"/>
                      <a:pt x="15" y="49"/>
                    </a:cubicBezTo>
                    <a:lnTo>
                      <a:pt x="13" y="53"/>
                    </a:lnTo>
                    <a:close/>
                    <a:moveTo>
                      <a:pt x="44" y="6"/>
                    </a:moveTo>
                    <a:cubicBezTo>
                      <a:pt x="39" y="6"/>
                      <a:pt x="32" y="9"/>
                      <a:pt x="24" y="16"/>
                    </a:cubicBezTo>
                    <a:cubicBezTo>
                      <a:pt x="8" y="29"/>
                      <a:pt x="9" y="36"/>
                      <a:pt x="13" y="42"/>
                    </a:cubicBezTo>
                    <a:cubicBezTo>
                      <a:pt x="23" y="28"/>
                      <a:pt x="37" y="17"/>
                      <a:pt x="53" y="11"/>
                    </a:cubicBezTo>
                    <a:cubicBezTo>
                      <a:pt x="50" y="8"/>
                      <a:pt x="47" y="6"/>
                      <a:pt x="44" y="6"/>
                    </a:cubicBez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2" name="Freeform 160">
                <a:extLst>
                  <a:ext uri="{FF2B5EF4-FFF2-40B4-BE49-F238E27FC236}">
                    <a16:creationId xmlns:a16="http://schemas.microsoft.com/office/drawing/2014/main" id="{1D07999A-0B9E-EABC-79E7-1E3F332E33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96256" y="4671737"/>
                <a:ext cx="43263" cy="44500"/>
              </a:xfrm>
              <a:custGeom>
                <a:avLst/>
                <a:gdLst>
                  <a:gd name="T0" fmla="*/ 6 w 35"/>
                  <a:gd name="T1" fmla="*/ 36 h 36"/>
                  <a:gd name="T2" fmla="*/ 0 w 35"/>
                  <a:gd name="T3" fmla="*/ 30 h 36"/>
                  <a:gd name="T4" fmla="*/ 29 w 35"/>
                  <a:gd name="T5" fmla="*/ 0 h 36"/>
                  <a:gd name="T6" fmla="*/ 35 w 35"/>
                  <a:gd name="T7" fmla="*/ 8 h 36"/>
                  <a:gd name="T8" fmla="*/ 6 w 35"/>
                  <a:gd name="T9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36">
                    <a:moveTo>
                      <a:pt x="6" y="36"/>
                    </a:moveTo>
                    <a:lnTo>
                      <a:pt x="0" y="30"/>
                    </a:lnTo>
                    <a:lnTo>
                      <a:pt x="29" y="0"/>
                    </a:lnTo>
                    <a:lnTo>
                      <a:pt x="35" y="8"/>
                    </a:lnTo>
                    <a:lnTo>
                      <a:pt x="6" y="36"/>
                    </a:ln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3" name="Freeform 161">
                <a:extLst>
                  <a:ext uri="{FF2B5EF4-FFF2-40B4-BE49-F238E27FC236}">
                    <a16:creationId xmlns:a16="http://schemas.microsoft.com/office/drawing/2014/main" id="{417F16D0-0B89-5C5D-14AF-5F751A829B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13809" y="4671737"/>
                <a:ext cx="45736" cy="45736"/>
              </a:xfrm>
              <a:custGeom>
                <a:avLst/>
                <a:gdLst>
                  <a:gd name="T0" fmla="*/ 29 w 37"/>
                  <a:gd name="T1" fmla="*/ 37 h 37"/>
                  <a:gd name="T2" fmla="*/ 0 w 37"/>
                  <a:gd name="T3" fmla="*/ 8 h 37"/>
                  <a:gd name="T4" fmla="*/ 6 w 37"/>
                  <a:gd name="T5" fmla="*/ 0 h 37"/>
                  <a:gd name="T6" fmla="*/ 37 w 37"/>
                  <a:gd name="T7" fmla="*/ 31 h 37"/>
                  <a:gd name="T8" fmla="*/ 29 w 37"/>
                  <a:gd name="T9" fmla="*/ 37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37">
                    <a:moveTo>
                      <a:pt x="29" y="37"/>
                    </a:moveTo>
                    <a:lnTo>
                      <a:pt x="0" y="8"/>
                    </a:lnTo>
                    <a:lnTo>
                      <a:pt x="6" y="0"/>
                    </a:lnTo>
                    <a:lnTo>
                      <a:pt x="37" y="31"/>
                    </a:lnTo>
                    <a:lnTo>
                      <a:pt x="29" y="37"/>
                    </a:ln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4" name="Freeform 162">
                <a:extLst>
                  <a:ext uri="{FF2B5EF4-FFF2-40B4-BE49-F238E27FC236}">
                    <a16:creationId xmlns:a16="http://schemas.microsoft.com/office/drawing/2014/main" id="{EBCE8487-1B7B-DC4F-4D30-0095CB46F85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167826" y="4397323"/>
                <a:ext cx="320149" cy="320149"/>
              </a:xfrm>
              <a:custGeom>
                <a:avLst/>
                <a:gdLst>
                  <a:gd name="T0" fmla="*/ 84 w 168"/>
                  <a:gd name="T1" fmla="*/ 168 h 168"/>
                  <a:gd name="T2" fmla="*/ 0 w 168"/>
                  <a:gd name="T3" fmla="*/ 84 h 168"/>
                  <a:gd name="T4" fmla="*/ 84 w 168"/>
                  <a:gd name="T5" fmla="*/ 0 h 168"/>
                  <a:gd name="T6" fmla="*/ 168 w 168"/>
                  <a:gd name="T7" fmla="*/ 84 h 168"/>
                  <a:gd name="T8" fmla="*/ 84 w 168"/>
                  <a:gd name="T9" fmla="*/ 168 h 168"/>
                  <a:gd name="T10" fmla="*/ 84 w 168"/>
                  <a:gd name="T11" fmla="*/ 6 h 168"/>
                  <a:gd name="T12" fmla="*/ 6 w 168"/>
                  <a:gd name="T13" fmla="*/ 84 h 168"/>
                  <a:gd name="T14" fmla="*/ 84 w 168"/>
                  <a:gd name="T15" fmla="*/ 162 h 168"/>
                  <a:gd name="T16" fmla="*/ 162 w 168"/>
                  <a:gd name="T17" fmla="*/ 84 h 168"/>
                  <a:gd name="T18" fmla="*/ 84 w 168"/>
                  <a:gd name="T19" fmla="*/ 6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68" h="168">
                    <a:moveTo>
                      <a:pt x="84" y="168"/>
                    </a:moveTo>
                    <a:cubicBezTo>
                      <a:pt x="38" y="168"/>
                      <a:pt x="0" y="131"/>
                      <a:pt x="0" y="84"/>
                    </a:cubicBezTo>
                    <a:cubicBezTo>
                      <a:pt x="0" y="38"/>
                      <a:pt x="38" y="0"/>
                      <a:pt x="84" y="0"/>
                    </a:cubicBezTo>
                    <a:cubicBezTo>
                      <a:pt x="130" y="0"/>
                      <a:pt x="168" y="38"/>
                      <a:pt x="168" y="84"/>
                    </a:cubicBezTo>
                    <a:cubicBezTo>
                      <a:pt x="168" y="131"/>
                      <a:pt x="130" y="168"/>
                      <a:pt x="84" y="168"/>
                    </a:cubicBezTo>
                    <a:close/>
                    <a:moveTo>
                      <a:pt x="84" y="6"/>
                    </a:moveTo>
                    <a:cubicBezTo>
                      <a:pt x="41" y="6"/>
                      <a:pt x="6" y="41"/>
                      <a:pt x="6" y="84"/>
                    </a:cubicBezTo>
                    <a:cubicBezTo>
                      <a:pt x="6" y="127"/>
                      <a:pt x="41" y="162"/>
                      <a:pt x="84" y="162"/>
                    </a:cubicBezTo>
                    <a:cubicBezTo>
                      <a:pt x="127" y="162"/>
                      <a:pt x="162" y="127"/>
                      <a:pt x="162" y="84"/>
                    </a:cubicBezTo>
                    <a:cubicBezTo>
                      <a:pt x="162" y="41"/>
                      <a:pt x="127" y="6"/>
                      <a:pt x="84" y="6"/>
                    </a:cubicBez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5" name="Freeform 163">
                <a:extLst>
                  <a:ext uri="{FF2B5EF4-FFF2-40B4-BE49-F238E27FC236}">
                    <a16:creationId xmlns:a16="http://schemas.microsoft.com/office/drawing/2014/main" id="{6C353EFD-0A51-247D-9F9E-964856BBE9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234575" y="4446767"/>
                <a:ext cx="100124" cy="126082"/>
              </a:xfrm>
              <a:custGeom>
                <a:avLst/>
                <a:gdLst>
                  <a:gd name="T0" fmla="*/ 81 w 81"/>
                  <a:gd name="T1" fmla="*/ 102 h 102"/>
                  <a:gd name="T2" fmla="*/ 0 w 81"/>
                  <a:gd name="T3" fmla="*/ 102 h 102"/>
                  <a:gd name="T4" fmla="*/ 0 w 81"/>
                  <a:gd name="T5" fmla="*/ 93 h 102"/>
                  <a:gd name="T6" fmla="*/ 72 w 81"/>
                  <a:gd name="T7" fmla="*/ 93 h 102"/>
                  <a:gd name="T8" fmla="*/ 72 w 81"/>
                  <a:gd name="T9" fmla="*/ 0 h 102"/>
                  <a:gd name="T10" fmla="*/ 81 w 81"/>
                  <a:gd name="T11" fmla="*/ 0 h 102"/>
                  <a:gd name="T12" fmla="*/ 81 w 81"/>
                  <a:gd name="T13" fmla="*/ 102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1" h="102">
                    <a:moveTo>
                      <a:pt x="81" y="102"/>
                    </a:moveTo>
                    <a:lnTo>
                      <a:pt x="0" y="102"/>
                    </a:lnTo>
                    <a:lnTo>
                      <a:pt x="0" y="93"/>
                    </a:lnTo>
                    <a:lnTo>
                      <a:pt x="72" y="93"/>
                    </a:lnTo>
                    <a:lnTo>
                      <a:pt x="72" y="0"/>
                    </a:lnTo>
                    <a:lnTo>
                      <a:pt x="81" y="0"/>
                    </a:lnTo>
                    <a:lnTo>
                      <a:pt x="81" y="102"/>
                    </a:ln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</p:grpSp>
      </p:grpSp>
      <p:grpSp>
        <p:nvGrpSpPr>
          <p:cNvPr id="36" name="Group 35" descr="search icon">
            <a:extLst>
              <a:ext uri="{FF2B5EF4-FFF2-40B4-BE49-F238E27FC236}">
                <a16:creationId xmlns:a16="http://schemas.microsoft.com/office/drawing/2014/main" id="{687B6C54-1790-E64F-C35E-76DA0084E125}"/>
              </a:ext>
            </a:extLst>
          </p:cNvPr>
          <p:cNvGrpSpPr/>
          <p:nvPr/>
        </p:nvGrpSpPr>
        <p:grpSpPr>
          <a:xfrm>
            <a:off x="10965805" y="4109091"/>
            <a:ext cx="823913" cy="823912"/>
            <a:chOff x="744537" y="3975887"/>
            <a:chExt cx="823913" cy="823912"/>
          </a:xfrm>
          <a:solidFill>
            <a:schemeClr val="bg1"/>
          </a:solidFill>
        </p:grpSpPr>
        <p:sp>
          <p:nvSpPr>
            <p:cNvPr id="37" name="Oval 68">
              <a:extLst>
                <a:ext uri="{FF2B5EF4-FFF2-40B4-BE49-F238E27FC236}">
                  <a16:creationId xmlns:a16="http://schemas.microsoft.com/office/drawing/2014/main" id="{B380DB8B-E26A-8E61-2773-43637836E1B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4537" y="3975887"/>
              <a:ext cx="823913" cy="823912"/>
            </a:xfrm>
            <a:prstGeom prst="ellipse">
              <a:avLst/>
            </a:prstGeom>
            <a:grpFill/>
            <a:ln w="57150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grpSp>
          <p:nvGrpSpPr>
            <p:cNvPr id="38" name="Group 37" descr="Unlock">
              <a:extLst>
                <a:ext uri="{FF2B5EF4-FFF2-40B4-BE49-F238E27FC236}">
                  <a16:creationId xmlns:a16="http://schemas.microsoft.com/office/drawing/2014/main" id="{31961FAE-21E7-F95B-70E1-CB3C7A6E0466}"/>
                </a:ext>
              </a:extLst>
            </p:cNvPr>
            <p:cNvGrpSpPr/>
            <p:nvPr/>
          </p:nvGrpSpPr>
          <p:grpSpPr bwMode="auto">
            <a:xfrm>
              <a:off x="993177" y="4210484"/>
              <a:ext cx="360941" cy="337455"/>
              <a:chOff x="6955211" y="4365185"/>
              <a:chExt cx="360941" cy="337455"/>
            </a:xfrm>
            <a:grpFill/>
          </p:grpSpPr>
          <p:sp>
            <p:nvSpPr>
              <p:cNvPr id="39" name="Freeform 188">
                <a:extLst>
                  <a:ext uri="{FF2B5EF4-FFF2-40B4-BE49-F238E27FC236}">
                    <a16:creationId xmlns:a16="http://schemas.microsoft.com/office/drawing/2014/main" id="{EA3947DC-A4F0-4BBD-41F0-EA78C084B8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55211" y="4365185"/>
                <a:ext cx="337455" cy="337455"/>
              </a:xfrm>
              <a:custGeom>
                <a:avLst/>
                <a:gdLst>
                  <a:gd name="T0" fmla="*/ 88 w 177"/>
                  <a:gd name="T1" fmla="*/ 177 h 177"/>
                  <a:gd name="T2" fmla="*/ 26 w 177"/>
                  <a:gd name="T3" fmla="*/ 151 h 177"/>
                  <a:gd name="T4" fmla="*/ 0 w 177"/>
                  <a:gd name="T5" fmla="*/ 89 h 177"/>
                  <a:gd name="T6" fmla="*/ 26 w 177"/>
                  <a:gd name="T7" fmla="*/ 27 h 177"/>
                  <a:gd name="T8" fmla="*/ 88 w 177"/>
                  <a:gd name="T9" fmla="*/ 0 h 177"/>
                  <a:gd name="T10" fmla="*/ 88 w 177"/>
                  <a:gd name="T11" fmla="*/ 0 h 177"/>
                  <a:gd name="T12" fmla="*/ 177 w 177"/>
                  <a:gd name="T13" fmla="*/ 88 h 177"/>
                  <a:gd name="T14" fmla="*/ 171 w 177"/>
                  <a:gd name="T15" fmla="*/ 88 h 177"/>
                  <a:gd name="T16" fmla="*/ 88 w 177"/>
                  <a:gd name="T17" fmla="*/ 6 h 177"/>
                  <a:gd name="T18" fmla="*/ 88 w 177"/>
                  <a:gd name="T19" fmla="*/ 6 h 177"/>
                  <a:gd name="T20" fmla="*/ 30 w 177"/>
                  <a:gd name="T21" fmla="*/ 31 h 177"/>
                  <a:gd name="T22" fmla="*/ 6 w 177"/>
                  <a:gd name="T23" fmla="*/ 89 h 177"/>
                  <a:gd name="T24" fmla="*/ 31 w 177"/>
                  <a:gd name="T25" fmla="*/ 147 h 177"/>
                  <a:gd name="T26" fmla="*/ 88 w 177"/>
                  <a:gd name="T27" fmla="*/ 171 h 177"/>
                  <a:gd name="T28" fmla="*/ 89 w 177"/>
                  <a:gd name="T29" fmla="*/ 171 h 177"/>
                  <a:gd name="T30" fmla="*/ 155 w 177"/>
                  <a:gd name="T31" fmla="*/ 136 h 177"/>
                  <a:gd name="T32" fmla="*/ 160 w 177"/>
                  <a:gd name="T33" fmla="*/ 140 h 177"/>
                  <a:gd name="T34" fmla="*/ 89 w 177"/>
                  <a:gd name="T35" fmla="*/ 177 h 177"/>
                  <a:gd name="T36" fmla="*/ 88 w 177"/>
                  <a:gd name="T37" fmla="*/ 177 h 1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77" h="177">
                    <a:moveTo>
                      <a:pt x="88" y="177"/>
                    </a:moveTo>
                    <a:cubicBezTo>
                      <a:pt x="65" y="177"/>
                      <a:pt x="43" y="168"/>
                      <a:pt x="26" y="151"/>
                    </a:cubicBezTo>
                    <a:cubicBezTo>
                      <a:pt x="10" y="135"/>
                      <a:pt x="0" y="113"/>
                      <a:pt x="0" y="89"/>
                    </a:cubicBezTo>
                    <a:cubicBezTo>
                      <a:pt x="0" y="66"/>
                      <a:pt x="9" y="43"/>
                      <a:pt x="26" y="27"/>
                    </a:cubicBezTo>
                    <a:cubicBezTo>
                      <a:pt x="42" y="10"/>
                      <a:pt x="64" y="1"/>
                      <a:pt x="88" y="0"/>
                    </a:cubicBezTo>
                    <a:cubicBezTo>
                      <a:pt x="88" y="0"/>
                      <a:pt x="88" y="0"/>
                      <a:pt x="88" y="0"/>
                    </a:cubicBezTo>
                    <a:cubicBezTo>
                      <a:pt x="137" y="0"/>
                      <a:pt x="176" y="40"/>
                      <a:pt x="177" y="88"/>
                    </a:cubicBezTo>
                    <a:cubicBezTo>
                      <a:pt x="171" y="88"/>
                      <a:pt x="171" y="88"/>
                      <a:pt x="171" y="88"/>
                    </a:cubicBezTo>
                    <a:cubicBezTo>
                      <a:pt x="170" y="43"/>
                      <a:pt x="133" y="6"/>
                      <a:pt x="88" y="6"/>
                    </a:cubicBezTo>
                    <a:cubicBezTo>
                      <a:pt x="88" y="6"/>
                      <a:pt x="88" y="6"/>
                      <a:pt x="88" y="6"/>
                    </a:cubicBezTo>
                    <a:cubicBezTo>
                      <a:pt x="66" y="7"/>
                      <a:pt x="45" y="15"/>
                      <a:pt x="30" y="31"/>
                    </a:cubicBezTo>
                    <a:cubicBezTo>
                      <a:pt x="14" y="46"/>
                      <a:pt x="6" y="67"/>
                      <a:pt x="6" y="89"/>
                    </a:cubicBezTo>
                    <a:cubicBezTo>
                      <a:pt x="6" y="111"/>
                      <a:pt x="15" y="132"/>
                      <a:pt x="31" y="147"/>
                    </a:cubicBezTo>
                    <a:cubicBezTo>
                      <a:pt x="46" y="162"/>
                      <a:pt x="67" y="171"/>
                      <a:pt x="88" y="171"/>
                    </a:cubicBezTo>
                    <a:cubicBezTo>
                      <a:pt x="88" y="171"/>
                      <a:pt x="89" y="171"/>
                      <a:pt x="89" y="171"/>
                    </a:cubicBezTo>
                    <a:cubicBezTo>
                      <a:pt x="115" y="171"/>
                      <a:pt x="140" y="158"/>
                      <a:pt x="155" y="136"/>
                    </a:cubicBezTo>
                    <a:cubicBezTo>
                      <a:pt x="160" y="140"/>
                      <a:pt x="160" y="140"/>
                      <a:pt x="160" y="140"/>
                    </a:cubicBezTo>
                    <a:cubicBezTo>
                      <a:pt x="144" y="163"/>
                      <a:pt x="117" y="177"/>
                      <a:pt x="89" y="177"/>
                    </a:cubicBezTo>
                    <a:cubicBezTo>
                      <a:pt x="89" y="177"/>
                      <a:pt x="89" y="177"/>
                      <a:pt x="88" y="177"/>
                    </a:cubicBez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0" name="Freeform 189">
                <a:extLst>
                  <a:ext uri="{FF2B5EF4-FFF2-40B4-BE49-F238E27FC236}">
                    <a16:creationId xmlns:a16="http://schemas.microsoft.com/office/drawing/2014/main" id="{3CF09D77-F139-589A-402B-7F84A00514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41986" y="4491267"/>
                <a:ext cx="74166" cy="66749"/>
              </a:xfrm>
              <a:custGeom>
                <a:avLst/>
                <a:gdLst>
                  <a:gd name="T0" fmla="*/ 0 w 60"/>
                  <a:gd name="T1" fmla="*/ 0 h 54"/>
                  <a:gd name="T2" fmla="*/ 31 w 60"/>
                  <a:gd name="T3" fmla="*/ 54 h 54"/>
                  <a:gd name="T4" fmla="*/ 60 w 60"/>
                  <a:gd name="T5" fmla="*/ 0 h 54"/>
                  <a:gd name="T6" fmla="*/ 0 w 60"/>
                  <a:gd name="T7" fmla="*/ 0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0" h="54">
                    <a:moveTo>
                      <a:pt x="0" y="0"/>
                    </a:moveTo>
                    <a:lnTo>
                      <a:pt x="31" y="54"/>
                    </a:lnTo>
                    <a:lnTo>
                      <a:pt x="6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1" name="Freeform 190">
                <a:extLst>
                  <a:ext uri="{FF2B5EF4-FFF2-40B4-BE49-F238E27FC236}">
                    <a16:creationId xmlns:a16="http://schemas.microsoft.com/office/drawing/2014/main" id="{DF1C3F24-8703-6BE4-9364-F8F863E7757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77585" y="4452947"/>
                <a:ext cx="91471" cy="76638"/>
              </a:xfrm>
              <a:custGeom>
                <a:avLst/>
                <a:gdLst>
                  <a:gd name="T0" fmla="*/ 1 w 48"/>
                  <a:gd name="T1" fmla="*/ 40 h 40"/>
                  <a:gd name="T2" fmla="*/ 0 w 48"/>
                  <a:gd name="T3" fmla="*/ 24 h 40"/>
                  <a:gd name="T4" fmla="*/ 24 w 48"/>
                  <a:gd name="T5" fmla="*/ 0 h 40"/>
                  <a:gd name="T6" fmla="*/ 48 w 48"/>
                  <a:gd name="T7" fmla="*/ 23 h 40"/>
                  <a:gd name="T8" fmla="*/ 48 w 48"/>
                  <a:gd name="T9" fmla="*/ 40 h 40"/>
                  <a:gd name="T10" fmla="*/ 1 w 48"/>
                  <a:gd name="T11" fmla="*/ 40 h 40"/>
                  <a:gd name="T12" fmla="*/ 24 w 48"/>
                  <a:gd name="T13" fmla="*/ 6 h 40"/>
                  <a:gd name="T14" fmla="*/ 6 w 48"/>
                  <a:gd name="T15" fmla="*/ 24 h 40"/>
                  <a:gd name="T16" fmla="*/ 7 w 48"/>
                  <a:gd name="T17" fmla="*/ 34 h 40"/>
                  <a:gd name="T18" fmla="*/ 42 w 48"/>
                  <a:gd name="T19" fmla="*/ 34 h 40"/>
                  <a:gd name="T20" fmla="*/ 42 w 48"/>
                  <a:gd name="T21" fmla="*/ 23 h 40"/>
                  <a:gd name="T22" fmla="*/ 24 w 48"/>
                  <a:gd name="T23" fmla="*/ 6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8" h="40">
                    <a:moveTo>
                      <a:pt x="1" y="40"/>
                    </a:moveTo>
                    <a:cubicBezTo>
                      <a:pt x="0" y="24"/>
                      <a:pt x="0" y="24"/>
                      <a:pt x="0" y="24"/>
                    </a:cubicBezTo>
                    <a:cubicBezTo>
                      <a:pt x="0" y="11"/>
                      <a:pt x="11" y="0"/>
                      <a:pt x="24" y="0"/>
                    </a:cubicBezTo>
                    <a:cubicBezTo>
                      <a:pt x="37" y="0"/>
                      <a:pt x="48" y="10"/>
                      <a:pt x="48" y="23"/>
                    </a:cubicBezTo>
                    <a:cubicBezTo>
                      <a:pt x="48" y="40"/>
                      <a:pt x="48" y="40"/>
                      <a:pt x="48" y="40"/>
                    </a:cubicBezTo>
                    <a:lnTo>
                      <a:pt x="1" y="40"/>
                    </a:lnTo>
                    <a:close/>
                    <a:moveTo>
                      <a:pt x="24" y="6"/>
                    </a:moveTo>
                    <a:cubicBezTo>
                      <a:pt x="14" y="6"/>
                      <a:pt x="6" y="14"/>
                      <a:pt x="6" y="24"/>
                    </a:cubicBezTo>
                    <a:cubicBezTo>
                      <a:pt x="7" y="34"/>
                      <a:pt x="7" y="34"/>
                      <a:pt x="7" y="34"/>
                    </a:cubicBezTo>
                    <a:cubicBezTo>
                      <a:pt x="42" y="34"/>
                      <a:pt x="42" y="34"/>
                      <a:pt x="42" y="34"/>
                    </a:cubicBezTo>
                    <a:cubicBezTo>
                      <a:pt x="42" y="23"/>
                      <a:pt x="42" y="23"/>
                      <a:pt x="42" y="23"/>
                    </a:cubicBezTo>
                    <a:cubicBezTo>
                      <a:pt x="42" y="14"/>
                      <a:pt x="34" y="6"/>
                      <a:pt x="24" y="6"/>
                    </a:cubicBez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2" name="Freeform 191">
                <a:extLst>
                  <a:ext uri="{FF2B5EF4-FFF2-40B4-BE49-F238E27FC236}">
                    <a16:creationId xmlns:a16="http://schemas.microsoft.com/office/drawing/2014/main" id="{1DE81C7A-C97B-97B8-B392-DBCDDA5F8A0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59043" y="4517225"/>
                <a:ext cx="131026" cy="100124"/>
              </a:xfrm>
              <a:custGeom>
                <a:avLst/>
                <a:gdLst>
                  <a:gd name="T0" fmla="*/ 5 w 69"/>
                  <a:gd name="T1" fmla="*/ 52 h 52"/>
                  <a:gd name="T2" fmla="*/ 5 w 69"/>
                  <a:gd name="T3" fmla="*/ 52 h 52"/>
                  <a:gd name="T4" fmla="*/ 1 w 69"/>
                  <a:gd name="T5" fmla="*/ 47 h 52"/>
                  <a:gd name="T6" fmla="*/ 0 w 69"/>
                  <a:gd name="T7" fmla="*/ 4 h 52"/>
                  <a:gd name="T8" fmla="*/ 5 w 69"/>
                  <a:gd name="T9" fmla="*/ 0 h 52"/>
                  <a:gd name="T10" fmla="*/ 64 w 69"/>
                  <a:gd name="T11" fmla="*/ 0 h 52"/>
                  <a:gd name="T12" fmla="*/ 68 w 69"/>
                  <a:gd name="T13" fmla="*/ 4 h 52"/>
                  <a:gd name="T14" fmla="*/ 69 w 69"/>
                  <a:gd name="T15" fmla="*/ 47 h 52"/>
                  <a:gd name="T16" fmla="*/ 67 w 69"/>
                  <a:gd name="T17" fmla="*/ 50 h 52"/>
                  <a:gd name="T18" fmla="*/ 64 w 69"/>
                  <a:gd name="T19" fmla="*/ 51 h 52"/>
                  <a:gd name="T20" fmla="*/ 5 w 69"/>
                  <a:gd name="T21" fmla="*/ 52 h 52"/>
                  <a:gd name="T22" fmla="*/ 6 w 69"/>
                  <a:gd name="T23" fmla="*/ 6 h 52"/>
                  <a:gd name="T24" fmla="*/ 7 w 69"/>
                  <a:gd name="T25" fmla="*/ 46 h 52"/>
                  <a:gd name="T26" fmla="*/ 62 w 69"/>
                  <a:gd name="T27" fmla="*/ 45 h 52"/>
                  <a:gd name="T28" fmla="*/ 62 w 69"/>
                  <a:gd name="T29" fmla="*/ 6 h 52"/>
                  <a:gd name="T30" fmla="*/ 6 w 69"/>
                  <a:gd name="T31" fmla="*/ 6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69" h="52">
                    <a:moveTo>
                      <a:pt x="5" y="52"/>
                    </a:moveTo>
                    <a:cubicBezTo>
                      <a:pt x="5" y="52"/>
                      <a:pt x="5" y="52"/>
                      <a:pt x="5" y="52"/>
                    </a:cubicBezTo>
                    <a:cubicBezTo>
                      <a:pt x="3" y="52"/>
                      <a:pt x="1" y="50"/>
                      <a:pt x="1" y="47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64" y="0"/>
                      <a:pt x="64" y="0"/>
                      <a:pt x="64" y="0"/>
                    </a:cubicBezTo>
                    <a:cubicBezTo>
                      <a:pt x="66" y="0"/>
                      <a:pt x="68" y="2"/>
                      <a:pt x="68" y="4"/>
                    </a:cubicBezTo>
                    <a:cubicBezTo>
                      <a:pt x="69" y="47"/>
                      <a:pt x="69" y="47"/>
                      <a:pt x="69" y="47"/>
                    </a:cubicBezTo>
                    <a:cubicBezTo>
                      <a:pt x="69" y="48"/>
                      <a:pt x="68" y="49"/>
                      <a:pt x="67" y="50"/>
                    </a:cubicBezTo>
                    <a:cubicBezTo>
                      <a:pt x="66" y="51"/>
                      <a:pt x="65" y="51"/>
                      <a:pt x="64" y="51"/>
                    </a:cubicBezTo>
                    <a:lnTo>
                      <a:pt x="5" y="52"/>
                    </a:lnTo>
                    <a:close/>
                    <a:moveTo>
                      <a:pt x="6" y="6"/>
                    </a:moveTo>
                    <a:cubicBezTo>
                      <a:pt x="7" y="46"/>
                      <a:pt x="7" y="46"/>
                      <a:pt x="7" y="46"/>
                    </a:cubicBezTo>
                    <a:cubicBezTo>
                      <a:pt x="62" y="45"/>
                      <a:pt x="62" y="45"/>
                      <a:pt x="62" y="45"/>
                    </a:cubicBezTo>
                    <a:cubicBezTo>
                      <a:pt x="62" y="6"/>
                      <a:pt x="62" y="6"/>
                      <a:pt x="62" y="6"/>
                    </a:cubicBezTo>
                    <a:lnTo>
                      <a:pt x="6" y="6"/>
                    </a:ln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</p:grpSp>
      </p:grpSp>
      <p:grpSp>
        <p:nvGrpSpPr>
          <p:cNvPr id="43" name="Group 42" descr="tools icon">
            <a:extLst>
              <a:ext uri="{FF2B5EF4-FFF2-40B4-BE49-F238E27FC236}">
                <a16:creationId xmlns:a16="http://schemas.microsoft.com/office/drawing/2014/main" id="{3B45C904-9ACC-B1CD-AC94-A5F94AF041AF}"/>
              </a:ext>
            </a:extLst>
          </p:cNvPr>
          <p:cNvGrpSpPr/>
          <p:nvPr/>
        </p:nvGrpSpPr>
        <p:grpSpPr>
          <a:xfrm>
            <a:off x="10934055" y="5079052"/>
            <a:ext cx="823913" cy="823912"/>
            <a:chOff x="712787" y="4945848"/>
            <a:chExt cx="823913" cy="823912"/>
          </a:xfrm>
          <a:solidFill>
            <a:schemeClr val="bg1"/>
          </a:solidFill>
        </p:grpSpPr>
        <p:sp>
          <p:nvSpPr>
            <p:cNvPr id="44" name="Oval 68">
              <a:extLst>
                <a:ext uri="{FF2B5EF4-FFF2-40B4-BE49-F238E27FC236}">
                  <a16:creationId xmlns:a16="http://schemas.microsoft.com/office/drawing/2014/main" id="{30FC6696-8ED2-5800-8AD1-C2F5C1FCEED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2787" y="4945848"/>
              <a:ext cx="823913" cy="823912"/>
            </a:xfrm>
            <a:prstGeom prst="ellipse">
              <a:avLst/>
            </a:prstGeom>
            <a:grpFill/>
            <a:ln w="57150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grpSp>
          <p:nvGrpSpPr>
            <p:cNvPr id="45" name="Group 44" descr="Mechanics">
              <a:extLst>
                <a:ext uri="{FF2B5EF4-FFF2-40B4-BE49-F238E27FC236}">
                  <a16:creationId xmlns:a16="http://schemas.microsoft.com/office/drawing/2014/main" id="{6B0F16DB-169E-EC84-058E-2EA7335875D9}"/>
                </a:ext>
              </a:extLst>
            </p:cNvPr>
            <p:cNvGrpSpPr/>
            <p:nvPr/>
          </p:nvGrpSpPr>
          <p:grpSpPr bwMode="auto">
            <a:xfrm>
              <a:off x="925095" y="5165730"/>
              <a:ext cx="396000" cy="396000"/>
              <a:chOff x="5508977" y="3649484"/>
              <a:chExt cx="331274" cy="323857"/>
            </a:xfrm>
            <a:grpFill/>
          </p:grpSpPr>
          <p:sp>
            <p:nvSpPr>
              <p:cNvPr id="46" name="Freeform 129">
                <a:extLst>
                  <a:ext uri="{FF2B5EF4-FFF2-40B4-BE49-F238E27FC236}">
                    <a16:creationId xmlns:a16="http://schemas.microsoft.com/office/drawing/2014/main" id="{0B8AAE0D-A0CC-6781-4119-45DC8DA00CC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78322" y="3828718"/>
                <a:ext cx="161929" cy="144623"/>
              </a:xfrm>
              <a:custGeom>
                <a:avLst/>
                <a:gdLst>
                  <a:gd name="T0" fmla="*/ 60 w 85"/>
                  <a:gd name="T1" fmla="*/ 76 h 76"/>
                  <a:gd name="T2" fmla="*/ 60 w 85"/>
                  <a:gd name="T3" fmla="*/ 76 h 76"/>
                  <a:gd name="T4" fmla="*/ 52 w 85"/>
                  <a:gd name="T5" fmla="*/ 73 h 76"/>
                  <a:gd name="T6" fmla="*/ 0 w 85"/>
                  <a:gd name="T7" fmla="*/ 22 h 76"/>
                  <a:gd name="T8" fmla="*/ 13 w 85"/>
                  <a:gd name="T9" fmla="*/ 9 h 76"/>
                  <a:gd name="T10" fmla="*/ 30 w 85"/>
                  <a:gd name="T11" fmla="*/ 1 h 76"/>
                  <a:gd name="T12" fmla="*/ 33 w 85"/>
                  <a:gd name="T13" fmla="*/ 0 h 76"/>
                  <a:gd name="T14" fmla="*/ 79 w 85"/>
                  <a:gd name="T15" fmla="*/ 46 h 76"/>
                  <a:gd name="T16" fmla="*/ 74 w 85"/>
                  <a:gd name="T17" fmla="*/ 69 h 76"/>
                  <a:gd name="T18" fmla="*/ 60 w 85"/>
                  <a:gd name="T19" fmla="*/ 76 h 76"/>
                  <a:gd name="T20" fmla="*/ 58 w 85"/>
                  <a:gd name="T21" fmla="*/ 68 h 76"/>
                  <a:gd name="T22" fmla="*/ 60 w 85"/>
                  <a:gd name="T23" fmla="*/ 68 h 76"/>
                  <a:gd name="T24" fmla="*/ 68 w 85"/>
                  <a:gd name="T25" fmla="*/ 63 h 76"/>
                  <a:gd name="T26" fmla="*/ 73 w 85"/>
                  <a:gd name="T27" fmla="*/ 52 h 76"/>
                  <a:gd name="T28" fmla="*/ 30 w 85"/>
                  <a:gd name="T29" fmla="*/ 9 h 76"/>
                  <a:gd name="T30" fmla="*/ 18 w 85"/>
                  <a:gd name="T31" fmla="*/ 14 h 76"/>
                  <a:gd name="T32" fmla="*/ 11 w 85"/>
                  <a:gd name="T33" fmla="*/ 21 h 76"/>
                  <a:gd name="T34" fmla="*/ 58 w 85"/>
                  <a:gd name="T35" fmla="*/ 68 h 76"/>
                  <a:gd name="T36" fmla="*/ 58 w 85"/>
                  <a:gd name="T37" fmla="*/ 68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85" h="76">
                    <a:moveTo>
                      <a:pt x="60" y="76"/>
                    </a:moveTo>
                    <a:cubicBezTo>
                      <a:pt x="60" y="76"/>
                      <a:pt x="60" y="76"/>
                      <a:pt x="60" y="76"/>
                    </a:cubicBezTo>
                    <a:cubicBezTo>
                      <a:pt x="55" y="76"/>
                      <a:pt x="52" y="74"/>
                      <a:pt x="52" y="73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4" y="8"/>
                      <a:pt x="17" y="5"/>
                      <a:pt x="30" y="1"/>
                    </a:cubicBezTo>
                    <a:cubicBezTo>
                      <a:pt x="33" y="0"/>
                      <a:pt x="33" y="0"/>
                      <a:pt x="33" y="0"/>
                    </a:cubicBezTo>
                    <a:cubicBezTo>
                      <a:pt x="79" y="46"/>
                      <a:pt x="79" y="46"/>
                      <a:pt x="79" y="46"/>
                    </a:cubicBezTo>
                    <a:cubicBezTo>
                      <a:pt x="82" y="49"/>
                      <a:pt x="85" y="58"/>
                      <a:pt x="74" y="69"/>
                    </a:cubicBezTo>
                    <a:cubicBezTo>
                      <a:pt x="69" y="74"/>
                      <a:pt x="64" y="76"/>
                      <a:pt x="60" y="76"/>
                    </a:cubicBezTo>
                    <a:close/>
                    <a:moveTo>
                      <a:pt x="58" y="68"/>
                    </a:moveTo>
                    <a:cubicBezTo>
                      <a:pt x="58" y="68"/>
                      <a:pt x="58" y="68"/>
                      <a:pt x="60" y="68"/>
                    </a:cubicBezTo>
                    <a:cubicBezTo>
                      <a:pt x="62" y="68"/>
                      <a:pt x="65" y="66"/>
                      <a:pt x="68" y="63"/>
                    </a:cubicBezTo>
                    <a:cubicBezTo>
                      <a:pt x="76" y="56"/>
                      <a:pt x="73" y="52"/>
                      <a:pt x="73" y="52"/>
                    </a:cubicBezTo>
                    <a:cubicBezTo>
                      <a:pt x="30" y="9"/>
                      <a:pt x="30" y="9"/>
                      <a:pt x="30" y="9"/>
                    </a:cubicBezTo>
                    <a:cubicBezTo>
                      <a:pt x="21" y="12"/>
                      <a:pt x="19" y="14"/>
                      <a:pt x="18" y="14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58" y="68"/>
                      <a:pt x="58" y="68"/>
                      <a:pt x="58" y="68"/>
                    </a:cubicBezTo>
                    <a:cubicBezTo>
                      <a:pt x="58" y="68"/>
                      <a:pt x="58" y="68"/>
                      <a:pt x="58" y="68"/>
                    </a:cubicBezTo>
                    <a:close/>
                  </a:path>
                </a:pathLst>
              </a:custGeom>
              <a:grpFill/>
              <a:ln w="317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7" name="Freeform 130">
                <a:extLst>
                  <a:ext uri="{FF2B5EF4-FFF2-40B4-BE49-F238E27FC236}">
                    <a16:creationId xmlns:a16="http://schemas.microsoft.com/office/drawing/2014/main" id="{C4AA161E-775B-9704-92E4-4BAC4DDBBBE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08977" y="3649484"/>
                <a:ext cx="154512" cy="153276"/>
              </a:xfrm>
              <a:custGeom>
                <a:avLst/>
                <a:gdLst>
                  <a:gd name="T0" fmla="*/ 65 w 81"/>
                  <a:gd name="T1" fmla="*/ 80 h 80"/>
                  <a:gd name="T2" fmla="*/ 32 w 81"/>
                  <a:gd name="T3" fmla="*/ 47 h 80"/>
                  <a:gd name="T4" fmla="*/ 18 w 81"/>
                  <a:gd name="T5" fmla="*/ 41 h 80"/>
                  <a:gd name="T6" fmla="*/ 0 w 81"/>
                  <a:gd name="T7" fmla="*/ 15 h 80"/>
                  <a:gd name="T8" fmla="*/ 15 w 81"/>
                  <a:gd name="T9" fmla="*/ 0 h 80"/>
                  <a:gd name="T10" fmla="*/ 42 w 81"/>
                  <a:gd name="T11" fmla="*/ 17 h 80"/>
                  <a:gd name="T12" fmla="*/ 48 w 81"/>
                  <a:gd name="T13" fmla="*/ 31 h 80"/>
                  <a:gd name="T14" fmla="*/ 81 w 81"/>
                  <a:gd name="T15" fmla="*/ 64 h 80"/>
                  <a:gd name="T16" fmla="*/ 79 w 81"/>
                  <a:gd name="T17" fmla="*/ 67 h 80"/>
                  <a:gd name="T18" fmla="*/ 74 w 81"/>
                  <a:gd name="T19" fmla="*/ 72 h 80"/>
                  <a:gd name="T20" fmla="*/ 74 w 81"/>
                  <a:gd name="T21" fmla="*/ 73 h 80"/>
                  <a:gd name="T22" fmla="*/ 65 w 81"/>
                  <a:gd name="T23" fmla="*/ 80 h 80"/>
                  <a:gd name="T24" fmla="*/ 23 w 81"/>
                  <a:gd name="T25" fmla="*/ 35 h 80"/>
                  <a:gd name="T26" fmla="*/ 36 w 81"/>
                  <a:gd name="T27" fmla="*/ 41 h 80"/>
                  <a:gd name="T28" fmla="*/ 65 w 81"/>
                  <a:gd name="T29" fmla="*/ 70 h 80"/>
                  <a:gd name="T30" fmla="*/ 69 w 81"/>
                  <a:gd name="T31" fmla="*/ 66 h 80"/>
                  <a:gd name="T32" fmla="*/ 70 w 81"/>
                  <a:gd name="T33" fmla="*/ 65 h 80"/>
                  <a:gd name="T34" fmla="*/ 41 w 81"/>
                  <a:gd name="T35" fmla="*/ 36 h 80"/>
                  <a:gd name="T36" fmla="*/ 35 w 81"/>
                  <a:gd name="T37" fmla="*/ 22 h 80"/>
                  <a:gd name="T38" fmla="*/ 16 w 81"/>
                  <a:gd name="T39" fmla="*/ 10 h 80"/>
                  <a:gd name="T40" fmla="*/ 11 w 81"/>
                  <a:gd name="T41" fmla="*/ 16 h 80"/>
                  <a:gd name="T42" fmla="*/ 23 w 81"/>
                  <a:gd name="T43" fmla="*/ 35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81" h="80">
                    <a:moveTo>
                      <a:pt x="65" y="80"/>
                    </a:moveTo>
                    <a:cubicBezTo>
                      <a:pt x="32" y="47"/>
                      <a:pt x="32" y="47"/>
                      <a:pt x="32" y="47"/>
                    </a:cubicBezTo>
                    <a:cubicBezTo>
                      <a:pt x="18" y="41"/>
                      <a:pt x="18" y="41"/>
                      <a:pt x="18" y="41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42" y="17"/>
                      <a:pt x="42" y="17"/>
                      <a:pt x="42" y="17"/>
                    </a:cubicBezTo>
                    <a:cubicBezTo>
                      <a:pt x="48" y="31"/>
                      <a:pt x="48" y="31"/>
                      <a:pt x="48" y="31"/>
                    </a:cubicBezTo>
                    <a:cubicBezTo>
                      <a:pt x="81" y="64"/>
                      <a:pt x="81" y="64"/>
                      <a:pt x="81" y="64"/>
                    </a:cubicBezTo>
                    <a:cubicBezTo>
                      <a:pt x="79" y="67"/>
                      <a:pt x="79" y="67"/>
                      <a:pt x="79" y="67"/>
                    </a:cubicBezTo>
                    <a:cubicBezTo>
                      <a:pt x="77" y="69"/>
                      <a:pt x="76" y="71"/>
                      <a:pt x="74" y="72"/>
                    </a:cubicBezTo>
                    <a:cubicBezTo>
                      <a:pt x="74" y="73"/>
                      <a:pt x="74" y="73"/>
                      <a:pt x="74" y="73"/>
                    </a:cubicBezTo>
                    <a:lnTo>
                      <a:pt x="65" y="80"/>
                    </a:lnTo>
                    <a:close/>
                    <a:moveTo>
                      <a:pt x="23" y="35"/>
                    </a:moveTo>
                    <a:cubicBezTo>
                      <a:pt x="36" y="41"/>
                      <a:pt x="36" y="41"/>
                      <a:pt x="36" y="41"/>
                    </a:cubicBezTo>
                    <a:cubicBezTo>
                      <a:pt x="65" y="70"/>
                      <a:pt x="65" y="70"/>
                      <a:pt x="65" y="70"/>
                    </a:cubicBezTo>
                    <a:cubicBezTo>
                      <a:pt x="69" y="66"/>
                      <a:pt x="69" y="66"/>
                      <a:pt x="69" y="66"/>
                    </a:cubicBezTo>
                    <a:cubicBezTo>
                      <a:pt x="69" y="66"/>
                      <a:pt x="70" y="65"/>
                      <a:pt x="70" y="65"/>
                    </a:cubicBezTo>
                    <a:cubicBezTo>
                      <a:pt x="41" y="36"/>
                      <a:pt x="41" y="36"/>
                      <a:pt x="41" y="36"/>
                    </a:cubicBezTo>
                    <a:cubicBezTo>
                      <a:pt x="35" y="22"/>
                      <a:pt x="35" y="22"/>
                      <a:pt x="35" y="22"/>
                    </a:cubicBezTo>
                    <a:cubicBezTo>
                      <a:pt x="16" y="10"/>
                      <a:pt x="16" y="10"/>
                      <a:pt x="16" y="10"/>
                    </a:cubicBezTo>
                    <a:cubicBezTo>
                      <a:pt x="11" y="16"/>
                      <a:pt x="11" y="16"/>
                      <a:pt x="11" y="16"/>
                    </a:cubicBezTo>
                    <a:lnTo>
                      <a:pt x="23" y="35"/>
                    </a:lnTo>
                    <a:close/>
                  </a:path>
                </a:pathLst>
              </a:custGeom>
              <a:grpFill/>
              <a:ln w="317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8" name="Freeform 131">
                <a:extLst>
                  <a:ext uri="{FF2B5EF4-FFF2-40B4-BE49-F238E27FC236}">
                    <a16:creationId xmlns:a16="http://schemas.microsoft.com/office/drawing/2014/main" id="{CFC8005E-4EBB-D416-EE9D-B4922447812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13921" y="3670498"/>
                <a:ext cx="302844" cy="286775"/>
              </a:xfrm>
              <a:custGeom>
                <a:avLst/>
                <a:gdLst>
                  <a:gd name="T0" fmla="*/ 127 w 159"/>
                  <a:gd name="T1" fmla="*/ 4 h 150"/>
                  <a:gd name="T2" fmla="*/ 140 w 159"/>
                  <a:gd name="T3" fmla="*/ 6 h 150"/>
                  <a:gd name="T4" fmla="*/ 123 w 159"/>
                  <a:gd name="T5" fmla="*/ 13 h 150"/>
                  <a:gd name="T6" fmla="*/ 121 w 159"/>
                  <a:gd name="T7" fmla="*/ 14 h 150"/>
                  <a:gd name="T8" fmla="*/ 121 w 159"/>
                  <a:gd name="T9" fmla="*/ 16 h 150"/>
                  <a:gd name="T10" fmla="*/ 120 w 159"/>
                  <a:gd name="T11" fmla="*/ 23 h 150"/>
                  <a:gd name="T12" fmla="*/ 120 w 159"/>
                  <a:gd name="T13" fmla="*/ 24 h 150"/>
                  <a:gd name="T14" fmla="*/ 120 w 159"/>
                  <a:gd name="T15" fmla="*/ 25 h 150"/>
                  <a:gd name="T16" fmla="*/ 126 w 159"/>
                  <a:gd name="T17" fmla="*/ 39 h 150"/>
                  <a:gd name="T18" fmla="*/ 128 w 159"/>
                  <a:gd name="T19" fmla="*/ 43 h 150"/>
                  <a:gd name="T20" fmla="*/ 131 w 159"/>
                  <a:gd name="T21" fmla="*/ 41 h 150"/>
                  <a:gd name="T22" fmla="*/ 152 w 159"/>
                  <a:gd name="T23" fmla="*/ 32 h 150"/>
                  <a:gd name="T24" fmla="*/ 135 w 159"/>
                  <a:gd name="T25" fmla="*/ 50 h 150"/>
                  <a:gd name="T26" fmla="*/ 132 w 159"/>
                  <a:gd name="T27" fmla="*/ 52 h 150"/>
                  <a:gd name="T28" fmla="*/ 133 w 159"/>
                  <a:gd name="T29" fmla="*/ 56 h 150"/>
                  <a:gd name="T30" fmla="*/ 138 w 159"/>
                  <a:gd name="T31" fmla="*/ 68 h 150"/>
                  <a:gd name="T32" fmla="*/ 90 w 159"/>
                  <a:gd name="T33" fmla="*/ 83 h 150"/>
                  <a:gd name="T34" fmla="*/ 33 w 159"/>
                  <a:gd name="T35" fmla="*/ 142 h 150"/>
                  <a:gd name="T36" fmla="*/ 23 w 159"/>
                  <a:gd name="T37" fmla="*/ 146 h 150"/>
                  <a:gd name="T38" fmla="*/ 15 w 159"/>
                  <a:gd name="T39" fmla="*/ 142 h 150"/>
                  <a:gd name="T40" fmla="*/ 15 w 159"/>
                  <a:gd name="T41" fmla="*/ 123 h 150"/>
                  <a:gd name="T42" fmla="*/ 80 w 159"/>
                  <a:gd name="T43" fmla="*/ 71 h 150"/>
                  <a:gd name="T44" fmla="*/ 80 w 159"/>
                  <a:gd name="T45" fmla="*/ 71 h 150"/>
                  <a:gd name="T46" fmla="*/ 80 w 159"/>
                  <a:gd name="T47" fmla="*/ 70 h 150"/>
                  <a:gd name="T48" fmla="*/ 102 w 159"/>
                  <a:gd name="T49" fmla="*/ 23 h 150"/>
                  <a:gd name="T50" fmla="*/ 104 w 159"/>
                  <a:gd name="T51" fmla="*/ 15 h 150"/>
                  <a:gd name="T52" fmla="*/ 121 w 159"/>
                  <a:gd name="T53" fmla="*/ 4 h 150"/>
                  <a:gd name="T54" fmla="*/ 122 w 159"/>
                  <a:gd name="T55" fmla="*/ 4 h 150"/>
                  <a:gd name="T56" fmla="*/ 127 w 159"/>
                  <a:gd name="T57" fmla="*/ 4 h 150"/>
                  <a:gd name="T58" fmla="*/ 127 w 159"/>
                  <a:gd name="T59" fmla="*/ 4 h 150"/>
                  <a:gd name="T60" fmla="*/ 24 w 159"/>
                  <a:gd name="T61" fmla="*/ 142 h 150"/>
                  <a:gd name="T62" fmla="*/ 31 w 159"/>
                  <a:gd name="T63" fmla="*/ 139 h 150"/>
                  <a:gd name="T64" fmla="*/ 31 w 159"/>
                  <a:gd name="T65" fmla="*/ 125 h 150"/>
                  <a:gd name="T66" fmla="*/ 24 w 159"/>
                  <a:gd name="T67" fmla="*/ 122 h 150"/>
                  <a:gd name="T68" fmla="*/ 17 w 159"/>
                  <a:gd name="T69" fmla="*/ 125 h 150"/>
                  <a:gd name="T70" fmla="*/ 17 w 159"/>
                  <a:gd name="T71" fmla="*/ 139 h 150"/>
                  <a:gd name="T72" fmla="*/ 24 w 159"/>
                  <a:gd name="T73" fmla="*/ 142 h 150"/>
                  <a:gd name="T74" fmla="*/ 127 w 159"/>
                  <a:gd name="T75" fmla="*/ 0 h 150"/>
                  <a:gd name="T76" fmla="*/ 121 w 159"/>
                  <a:gd name="T77" fmla="*/ 0 h 150"/>
                  <a:gd name="T78" fmla="*/ 100 w 159"/>
                  <a:gd name="T79" fmla="*/ 13 h 150"/>
                  <a:gd name="T80" fmla="*/ 77 w 159"/>
                  <a:gd name="T81" fmla="*/ 68 h 150"/>
                  <a:gd name="T82" fmla="*/ 12 w 159"/>
                  <a:gd name="T83" fmla="*/ 120 h 150"/>
                  <a:gd name="T84" fmla="*/ 12 w 159"/>
                  <a:gd name="T85" fmla="*/ 145 h 150"/>
                  <a:gd name="T86" fmla="*/ 23 w 159"/>
                  <a:gd name="T87" fmla="*/ 150 h 150"/>
                  <a:gd name="T88" fmla="*/ 36 w 159"/>
                  <a:gd name="T89" fmla="*/ 145 h 150"/>
                  <a:gd name="T90" fmla="*/ 93 w 159"/>
                  <a:gd name="T91" fmla="*/ 85 h 150"/>
                  <a:gd name="T92" fmla="*/ 144 w 159"/>
                  <a:gd name="T93" fmla="*/ 71 h 150"/>
                  <a:gd name="T94" fmla="*/ 137 w 159"/>
                  <a:gd name="T95" fmla="*/ 54 h 150"/>
                  <a:gd name="T96" fmla="*/ 159 w 159"/>
                  <a:gd name="T97" fmla="*/ 25 h 150"/>
                  <a:gd name="T98" fmla="*/ 130 w 159"/>
                  <a:gd name="T99" fmla="*/ 37 h 150"/>
                  <a:gd name="T100" fmla="*/ 124 w 159"/>
                  <a:gd name="T101" fmla="*/ 24 h 150"/>
                  <a:gd name="T102" fmla="*/ 125 w 159"/>
                  <a:gd name="T103" fmla="*/ 17 h 150"/>
                  <a:gd name="T104" fmla="*/ 149 w 159"/>
                  <a:gd name="T105" fmla="*/ 6 h 150"/>
                  <a:gd name="T106" fmla="*/ 127 w 159"/>
                  <a:gd name="T107" fmla="*/ 0 h 150"/>
                  <a:gd name="T108" fmla="*/ 24 w 159"/>
                  <a:gd name="T109" fmla="*/ 138 h 150"/>
                  <a:gd name="T110" fmla="*/ 20 w 159"/>
                  <a:gd name="T111" fmla="*/ 136 h 150"/>
                  <a:gd name="T112" fmla="*/ 20 w 159"/>
                  <a:gd name="T113" fmla="*/ 128 h 150"/>
                  <a:gd name="T114" fmla="*/ 24 w 159"/>
                  <a:gd name="T115" fmla="*/ 126 h 150"/>
                  <a:gd name="T116" fmla="*/ 29 w 159"/>
                  <a:gd name="T117" fmla="*/ 128 h 150"/>
                  <a:gd name="T118" fmla="*/ 29 w 159"/>
                  <a:gd name="T119" fmla="*/ 136 h 150"/>
                  <a:gd name="T120" fmla="*/ 24 w 159"/>
                  <a:gd name="T121" fmla="*/ 138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59" h="150">
                    <a:moveTo>
                      <a:pt x="127" y="4"/>
                    </a:moveTo>
                    <a:cubicBezTo>
                      <a:pt x="132" y="4"/>
                      <a:pt x="136" y="5"/>
                      <a:pt x="140" y="6"/>
                    </a:cubicBezTo>
                    <a:cubicBezTo>
                      <a:pt x="123" y="13"/>
                      <a:pt x="123" y="13"/>
                      <a:pt x="123" y="13"/>
                    </a:cubicBezTo>
                    <a:cubicBezTo>
                      <a:pt x="121" y="14"/>
                      <a:pt x="121" y="14"/>
                      <a:pt x="121" y="14"/>
                    </a:cubicBezTo>
                    <a:cubicBezTo>
                      <a:pt x="121" y="16"/>
                      <a:pt x="121" y="16"/>
                      <a:pt x="121" y="16"/>
                    </a:cubicBezTo>
                    <a:cubicBezTo>
                      <a:pt x="120" y="23"/>
                      <a:pt x="120" y="23"/>
                      <a:pt x="120" y="23"/>
                    </a:cubicBezTo>
                    <a:cubicBezTo>
                      <a:pt x="120" y="24"/>
                      <a:pt x="120" y="24"/>
                      <a:pt x="120" y="24"/>
                    </a:cubicBezTo>
                    <a:cubicBezTo>
                      <a:pt x="120" y="25"/>
                      <a:pt x="120" y="25"/>
                      <a:pt x="120" y="25"/>
                    </a:cubicBezTo>
                    <a:cubicBezTo>
                      <a:pt x="126" y="39"/>
                      <a:pt x="126" y="39"/>
                      <a:pt x="126" y="39"/>
                    </a:cubicBezTo>
                    <a:cubicBezTo>
                      <a:pt x="128" y="43"/>
                      <a:pt x="128" y="43"/>
                      <a:pt x="128" y="43"/>
                    </a:cubicBezTo>
                    <a:cubicBezTo>
                      <a:pt x="131" y="41"/>
                      <a:pt x="131" y="41"/>
                      <a:pt x="131" y="41"/>
                    </a:cubicBezTo>
                    <a:cubicBezTo>
                      <a:pt x="152" y="32"/>
                      <a:pt x="152" y="32"/>
                      <a:pt x="152" y="32"/>
                    </a:cubicBezTo>
                    <a:cubicBezTo>
                      <a:pt x="148" y="38"/>
                      <a:pt x="143" y="46"/>
                      <a:pt x="135" y="50"/>
                    </a:cubicBezTo>
                    <a:cubicBezTo>
                      <a:pt x="132" y="52"/>
                      <a:pt x="132" y="52"/>
                      <a:pt x="132" y="52"/>
                    </a:cubicBezTo>
                    <a:cubicBezTo>
                      <a:pt x="133" y="56"/>
                      <a:pt x="133" y="56"/>
                      <a:pt x="133" y="56"/>
                    </a:cubicBezTo>
                    <a:cubicBezTo>
                      <a:pt x="138" y="68"/>
                      <a:pt x="138" y="68"/>
                      <a:pt x="138" y="68"/>
                    </a:cubicBezTo>
                    <a:cubicBezTo>
                      <a:pt x="126" y="69"/>
                      <a:pt x="98" y="74"/>
                      <a:pt x="90" y="83"/>
                    </a:cubicBezTo>
                    <a:cubicBezTo>
                      <a:pt x="33" y="142"/>
                      <a:pt x="33" y="142"/>
                      <a:pt x="33" y="142"/>
                    </a:cubicBezTo>
                    <a:cubicBezTo>
                      <a:pt x="33" y="142"/>
                      <a:pt x="28" y="146"/>
                      <a:pt x="23" y="146"/>
                    </a:cubicBezTo>
                    <a:cubicBezTo>
                      <a:pt x="20" y="146"/>
                      <a:pt x="17" y="144"/>
                      <a:pt x="15" y="142"/>
                    </a:cubicBezTo>
                    <a:cubicBezTo>
                      <a:pt x="7" y="134"/>
                      <a:pt x="13" y="125"/>
                      <a:pt x="15" y="123"/>
                    </a:cubicBezTo>
                    <a:cubicBezTo>
                      <a:pt x="80" y="71"/>
                      <a:pt x="80" y="71"/>
                      <a:pt x="80" y="71"/>
                    </a:cubicBezTo>
                    <a:cubicBezTo>
                      <a:pt x="80" y="71"/>
                      <a:pt x="80" y="71"/>
                      <a:pt x="80" y="71"/>
                    </a:cubicBezTo>
                    <a:cubicBezTo>
                      <a:pt x="80" y="70"/>
                      <a:pt x="80" y="70"/>
                      <a:pt x="80" y="70"/>
                    </a:cubicBezTo>
                    <a:cubicBezTo>
                      <a:pt x="93" y="58"/>
                      <a:pt x="98" y="36"/>
                      <a:pt x="102" y="23"/>
                    </a:cubicBezTo>
                    <a:cubicBezTo>
                      <a:pt x="103" y="19"/>
                      <a:pt x="103" y="17"/>
                      <a:pt x="104" y="15"/>
                    </a:cubicBezTo>
                    <a:cubicBezTo>
                      <a:pt x="106" y="7"/>
                      <a:pt x="107" y="7"/>
                      <a:pt x="121" y="4"/>
                    </a:cubicBezTo>
                    <a:cubicBezTo>
                      <a:pt x="122" y="4"/>
                      <a:pt x="122" y="4"/>
                      <a:pt x="122" y="4"/>
                    </a:cubicBezTo>
                    <a:cubicBezTo>
                      <a:pt x="124" y="4"/>
                      <a:pt x="125" y="4"/>
                      <a:pt x="127" y="4"/>
                    </a:cubicBezTo>
                    <a:cubicBezTo>
                      <a:pt x="127" y="4"/>
                      <a:pt x="127" y="4"/>
                      <a:pt x="127" y="4"/>
                    </a:cubicBezTo>
                    <a:moveTo>
                      <a:pt x="24" y="142"/>
                    </a:moveTo>
                    <a:cubicBezTo>
                      <a:pt x="27" y="142"/>
                      <a:pt x="30" y="141"/>
                      <a:pt x="31" y="139"/>
                    </a:cubicBezTo>
                    <a:cubicBezTo>
                      <a:pt x="35" y="135"/>
                      <a:pt x="35" y="129"/>
                      <a:pt x="31" y="125"/>
                    </a:cubicBezTo>
                    <a:cubicBezTo>
                      <a:pt x="30" y="123"/>
                      <a:pt x="27" y="122"/>
                      <a:pt x="24" y="122"/>
                    </a:cubicBezTo>
                    <a:cubicBezTo>
                      <a:pt x="22" y="122"/>
                      <a:pt x="19" y="123"/>
                      <a:pt x="17" y="125"/>
                    </a:cubicBezTo>
                    <a:cubicBezTo>
                      <a:pt x="13" y="129"/>
                      <a:pt x="13" y="135"/>
                      <a:pt x="17" y="139"/>
                    </a:cubicBezTo>
                    <a:cubicBezTo>
                      <a:pt x="19" y="141"/>
                      <a:pt x="22" y="142"/>
                      <a:pt x="24" y="142"/>
                    </a:cubicBezTo>
                    <a:moveTo>
                      <a:pt x="127" y="0"/>
                    </a:moveTo>
                    <a:cubicBezTo>
                      <a:pt x="125" y="0"/>
                      <a:pt x="123" y="0"/>
                      <a:pt x="121" y="0"/>
                    </a:cubicBezTo>
                    <a:cubicBezTo>
                      <a:pt x="106" y="3"/>
                      <a:pt x="103" y="4"/>
                      <a:pt x="100" y="13"/>
                    </a:cubicBezTo>
                    <a:cubicBezTo>
                      <a:pt x="97" y="23"/>
                      <a:pt x="93" y="53"/>
                      <a:pt x="77" y="68"/>
                    </a:cubicBezTo>
                    <a:cubicBezTo>
                      <a:pt x="12" y="120"/>
                      <a:pt x="12" y="120"/>
                      <a:pt x="12" y="120"/>
                    </a:cubicBezTo>
                    <a:cubicBezTo>
                      <a:pt x="12" y="120"/>
                      <a:pt x="0" y="133"/>
                      <a:pt x="12" y="145"/>
                    </a:cubicBezTo>
                    <a:cubicBezTo>
                      <a:pt x="16" y="148"/>
                      <a:pt x="20" y="150"/>
                      <a:pt x="23" y="150"/>
                    </a:cubicBezTo>
                    <a:cubicBezTo>
                      <a:pt x="30" y="150"/>
                      <a:pt x="36" y="145"/>
                      <a:pt x="36" y="145"/>
                    </a:cubicBezTo>
                    <a:cubicBezTo>
                      <a:pt x="93" y="85"/>
                      <a:pt x="93" y="85"/>
                      <a:pt x="93" y="85"/>
                    </a:cubicBezTo>
                    <a:cubicBezTo>
                      <a:pt x="102" y="76"/>
                      <a:pt x="144" y="71"/>
                      <a:pt x="144" y="71"/>
                    </a:cubicBezTo>
                    <a:cubicBezTo>
                      <a:pt x="137" y="54"/>
                      <a:pt x="137" y="54"/>
                      <a:pt x="137" y="54"/>
                    </a:cubicBezTo>
                    <a:cubicBezTo>
                      <a:pt x="153" y="46"/>
                      <a:pt x="159" y="25"/>
                      <a:pt x="159" y="25"/>
                    </a:cubicBezTo>
                    <a:cubicBezTo>
                      <a:pt x="130" y="37"/>
                      <a:pt x="130" y="37"/>
                      <a:pt x="130" y="37"/>
                    </a:cubicBezTo>
                    <a:cubicBezTo>
                      <a:pt x="124" y="24"/>
                      <a:pt x="124" y="24"/>
                      <a:pt x="124" y="24"/>
                    </a:cubicBezTo>
                    <a:cubicBezTo>
                      <a:pt x="125" y="17"/>
                      <a:pt x="125" y="17"/>
                      <a:pt x="125" y="17"/>
                    </a:cubicBezTo>
                    <a:cubicBezTo>
                      <a:pt x="149" y="6"/>
                      <a:pt x="149" y="6"/>
                      <a:pt x="149" y="6"/>
                    </a:cubicBezTo>
                    <a:cubicBezTo>
                      <a:pt x="149" y="6"/>
                      <a:pt x="139" y="0"/>
                      <a:pt x="127" y="0"/>
                    </a:cubicBezTo>
                    <a:close/>
                    <a:moveTo>
                      <a:pt x="24" y="138"/>
                    </a:moveTo>
                    <a:cubicBezTo>
                      <a:pt x="23" y="138"/>
                      <a:pt x="21" y="138"/>
                      <a:pt x="20" y="136"/>
                    </a:cubicBezTo>
                    <a:cubicBezTo>
                      <a:pt x="17" y="134"/>
                      <a:pt x="17" y="130"/>
                      <a:pt x="20" y="128"/>
                    </a:cubicBezTo>
                    <a:cubicBezTo>
                      <a:pt x="21" y="127"/>
                      <a:pt x="23" y="126"/>
                      <a:pt x="24" y="126"/>
                    </a:cubicBezTo>
                    <a:cubicBezTo>
                      <a:pt x="26" y="126"/>
                      <a:pt x="27" y="127"/>
                      <a:pt x="29" y="128"/>
                    </a:cubicBezTo>
                    <a:cubicBezTo>
                      <a:pt x="31" y="130"/>
                      <a:pt x="31" y="134"/>
                      <a:pt x="29" y="136"/>
                    </a:cubicBezTo>
                    <a:cubicBezTo>
                      <a:pt x="27" y="138"/>
                      <a:pt x="26" y="138"/>
                      <a:pt x="24" y="138"/>
                    </a:cubicBezTo>
                    <a:close/>
                  </a:path>
                </a:pathLst>
              </a:custGeom>
              <a:grpFill/>
              <a:ln w="317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75461322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Learning is also Fun!</a:t>
            </a:r>
            <a:endParaRPr lang="en-IN" sz="4000" dirty="0"/>
          </a:p>
        </p:txBody>
      </p:sp>
      <p:pic>
        <p:nvPicPr>
          <p:cNvPr id="2" name="Graphic 1" descr="Juggler with solid fill">
            <a:extLst>
              <a:ext uri="{FF2B5EF4-FFF2-40B4-BE49-F238E27FC236}">
                <a16:creationId xmlns:a16="http://schemas.microsoft.com/office/drawing/2014/main" id="{05221367-599F-F73C-4BD3-0C82C72014F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83676" y="2795529"/>
            <a:ext cx="1213691" cy="12136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066222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82285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is also Fun!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8</a:t>
            </a:fld>
            <a:endParaRPr lang="en-IN" dirty="0"/>
          </a:p>
        </p:txBody>
      </p:sp>
      <p:pic>
        <p:nvPicPr>
          <p:cNvPr id="2" name="Graphic 1" descr="Juggler with solid fill">
            <a:extLst>
              <a:ext uri="{FF2B5EF4-FFF2-40B4-BE49-F238E27FC236}">
                <a16:creationId xmlns:a16="http://schemas.microsoft.com/office/drawing/2014/main" id="{09B39B69-AA92-EAA5-718F-24380CF2465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19674" y="124674"/>
            <a:ext cx="1213691" cy="1213691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CC1343B-2E39-FEFF-8FF6-46822F18B432}"/>
              </a:ext>
            </a:extLst>
          </p:cNvPr>
          <p:cNvSpPr txBox="1">
            <a:spLocks/>
          </p:cNvSpPr>
          <p:nvPr/>
        </p:nvSpPr>
        <p:spPr>
          <a:xfrm>
            <a:off x="492758" y="1963817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000" dirty="0"/>
              <a:t>My facilitator for soft skills training </a:t>
            </a:r>
            <a:r>
              <a:rPr lang="en-US" sz="2000" dirty="0" err="1"/>
              <a:t>Mrs</a:t>
            </a:r>
            <a:r>
              <a:rPr lang="en-US" sz="2000" dirty="0"/>
              <a:t> </a:t>
            </a:r>
            <a:r>
              <a:rPr lang="en-US" sz="2000" dirty="0" err="1"/>
              <a:t>Chaithanya</a:t>
            </a:r>
            <a:r>
              <a:rPr lang="en-US" sz="2000" dirty="0"/>
              <a:t> has been very patient and made sessions very interactive and fun and also very informative. We had many activities to understand various concepts.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2000" dirty="0"/>
              <a:t>One of the group activity was to make </a:t>
            </a:r>
            <a:r>
              <a:rPr lang="en-US" sz="2000" dirty="0" err="1"/>
              <a:t>aeroplanes</a:t>
            </a:r>
            <a:r>
              <a:rPr lang="en-US" sz="2000" dirty="0"/>
              <a:t> out of paper in order to understand requirements. It was very fun and also informative. It explained we should never assume what client is expecting from a product we should ask him and be clear about it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5A873A1A-E63F-91AE-7D43-ED0F86870147}"/>
              </a:ext>
            </a:extLst>
          </p:cNvPr>
          <p:cNvSpPr txBox="1">
            <a:spLocks/>
          </p:cNvSpPr>
          <p:nvPr/>
        </p:nvSpPr>
        <p:spPr>
          <a:xfrm>
            <a:off x="6400800" y="1963818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/>
              <a:t>[Add a graphic or a picture of how you/your team enjoyed the new learning]</a:t>
            </a:r>
          </a:p>
        </p:txBody>
      </p:sp>
      <p:pic>
        <p:nvPicPr>
          <p:cNvPr id="7170" name="Picture 2">
            <a:extLst>
              <a:ext uri="{FF2B5EF4-FFF2-40B4-BE49-F238E27FC236}">
                <a16:creationId xmlns:a16="http://schemas.microsoft.com/office/drawing/2014/main" id="{2E0798B1-2D68-E153-ABC1-3F6A5CE1D8E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30793" y="1963817"/>
            <a:ext cx="5520713" cy="40762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4883876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43480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Summary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9</a:t>
            </a:fld>
            <a:endParaRPr lang="en-IN" dirty="0"/>
          </a:p>
        </p:txBody>
      </p:sp>
      <p:pic>
        <p:nvPicPr>
          <p:cNvPr id="5" name="Graphic 4" descr="Future with solid fill">
            <a:extLst>
              <a:ext uri="{FF2B5EF4-FFF2-40B4-BE49-F238E27FC236}">
                <a16:creationId xmlns:a16="http://schemas.microsoft.com/office/drawing/2014/main" id="{4C05FBB4-1D96-ED51-AB17-618E4D4052D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24305" y="129305"/>
            <a:ext cx="1204430" cy="1204430"/>
          </a:xfrm>
          <a:prstGeom prst="rect">
            <a:avLst/>
          </a:prstGeom>
        </p:spPr>
      </p:pic>
      <p:sp>
        <p:nvSpPr>
          <p:cNvPr id="6" name="Text Placeholder 1">
            <a:extLst>
              <a:ext uri="{FF2B5EF4-FFF2-40B4-BE49-F238E27FC236}">
                <a16:creationId xmlns:a16="http://schemas.microsoft.com/office/drawing/2014/main" id="{AC2F88D2-81D4-FAD4-568E-A3F495B06411}"/>
              </a:ext>
            </a:extLst>
          </p:cNvPr>
          <p:cNvSpPr txBox="1">
            <a:spLocks/>
          </p:cNvSpPr>
          <p:nvPr/>
        </p:nvSpPr>
        <p:spPr>
          <a:xfrm>
            <a:off x="812799" y="1191918"/>
            <a:ext cx="9804401" cy="4442421"/>
          </a:xfrm>
          <a:prstGeom prst="rect">
            <a:avLst/>
          </a:prstGeom>
        </p:spPr>
        <p:txBody>
          <a:bodyPr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US" sz="1800" b="1" dirty="0"/>
              <a:t>Quick Summary: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As Shell is data driven company, DBMS and cloud plays a major role in managing the data. 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Software testing ensures product quality which is crucial for delivering a high quality product.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Devops helps in accelerating delivery of product.</a:t>
            </a:r>
          </a:p>
          <a:p>
            <a:pPr marL="0" indent="0">
              <a:lnSpc>
                <a:spcPct val="100000"/>
              </a:lnSpc>
              <a:buNone/>
            </a:pPr>
            <a:endParaRPr lang="en-US" sz="1800" b="1" dirty="0"/>
          </a:p>
        </p:txBody>
      </p:sp>
    </p:spTree>
    <p:extLst>
      <p:ext uri="{BB962C8B-B14F-4D97-AF65-F5344CB8AC3E}">
        <p14:creationId xmlns:p14="http://schemas.microsoft.com/office/powerpoint/2010/main" val="38658501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95DA231-959C-B3E0-7DA4-876736A38BC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24474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95DA231-959C-B3E0-7DA4-876736A38B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56243872-C66F-EDEB-B185-CE420E5D68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9814" y="273377"/>
            <a:ext cx="10441782" cy="631596"/>
          </a:xfrm>
          <a:solidFill>
            <a:schemeClr val="accent1"/>
          </a:solidFill>
        </p:spPr>
        <p:txBody>
          <a:bodyPr vert="horz" anchor="ctr">
            <a:normAutofit/>
          </a:bodyPr>
          <a:lstStyle/>
          <a:p>
            <a:pPr algn="ctr"/>
            <a:r>
              <a:rPr lang="en-US" sz="3600" b="1" dirty="0">
                <a:ln w="0"/>
                <a:solidFill>
                  <a:schemeClr val="bg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About Me</a:t>
            </a:r>
            <a:endParaRPr lang="en-IN" sz="3600" b="1" dirty="0">
              <a:solidFill>
                <a:schemeClr val="bg1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6C725D5-7581-AA70-6229-D8DC020A1CF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2</a:t>
            </a:fld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1119CB9E-042F-11E8-F683-654626D307B3}"/>
              </a:ext>
            </a:extLst>
          </p:cNvPr>
          <p:cNvSpPr txBox="1">
            <a:spLocks/>
          </p:cNvSpPr>
          <p:nvPr/>
        </p:nvSpPr>
        <p:spPr>
          <a:xfrm>
            <a:off x="442195" y="1831738"/>
            <a:ext cx="5653806" cy="4076241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/>
              <a:t>“I am not a person who just completes the task, I enjoy the process and grow through it”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CE0DDF5F-FE47-F9A2-FE84-53B63DFF494D}"/>
              </a:ext>
            </a:extLst>
          </p:cNvPr>
          <p:cNvSpPr txBox="1">
            <a:spLocks/>
          </p:cNvSpPr>
          <p:nvPr/>
        </p:nvSpPr>
        <p:spPr>
          <a:xfrm>
            <a:off x="6400800" y="1831738"/>
            <a:ext cx="5350706" cy="4076241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/>
              <a:t>Please share an image / visual that best represents you</a:t>
            </a:r>
          </a:p>
        </p:txBody>
      </p:sp>
      <p:pic>
        <p:nvPicPr>
          <p:cNvPr id="6" name="Picture 5" descr="A person with a bun in her hair">
            <a:extLst>
              <a:ext uri="{FF2B5EF4-FFF2-40B4-BE49-F238E27FC236}">
                <a16:creationId xmlns:a16="http://schemas.microsoft.com/office/drawing/2014/main" id="{53AD419E-EB29-D460-6701-7886F9334231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99098" y="1831738"/>
            <a:ext cx="5467781" cy="41183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783218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2BCC5FF-5A86-457C-9D70-8722A7CA3A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5642" y="2673043"/>
            <a:ext cx="10525125" cy="923330"/>
          </a:xfrm>
        </p:spPr>
        <p:txBody>
          <a:bodyPr/>
          <a:lstStyle/>
          <a:p>
            <a:pPr algn="ctr"/>
            <a:r>
              <a:rPr lang="en-US" sz="6000" dirty="0"/>
              <a:t>Thank</a:t>
            </a:r>
            <a:r>
              <a:rPr lang="en-US" sz="3200" dirty="0"/>
              <a:t> </a:t>
            </a:r>
            <a:r>
              <a:rPr lang="en-US" sz="5400" dirty="0"/>
              <a:t>You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380597587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My learnings from this week!</a:t>
            </a:r>
            <a:endParaRPr lang="en-IN" sz="4000" dirty="0"/>
          </a:p>
        </p:txBody>
      </p:sp>
      <p:pic>
        <p:nvPicPr>
          <p:cNvPr id="2" name="Graphic 1" descr="Idea outline">
            <a:extLst>
              <a:ext uri="{FF2B5EF4-FFF2-40B4-BE49-F238E27FC236}">
                <a16:creationId xmlns:a16="http://schemas.microsoft.com/office/drawing/2014/main" id="{5ED103A7-D95B-E42C-6356-53269A110E8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27744" y="2869895"/>
            <a:ext cx="1090788" cy="10907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278987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13734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1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4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None/>
            </a:pPr>
            <a:r>
              <a:rPr lang="en-US" sz="1800" b="1" dirty="0"/>
              <a:t>Key Learnings:</a:t>
            </a:r>
            <a:r>
              <a:rPr lang="en-US" sz="1800" dirty="0"/>
              <a:t> I have learnt testing and understood that it ensures reliability, functionality, quality of software by identifying and fixing issues early in the development process</a:t>
            </a:r>
          </a:p>
          <a:p>
            <a:pPr marL="0" indent="0" algn="just">
              <a:buNone/>
            </a:pPr>
            <a:r>
              <a:rPr lang="en-US" sz="1800" b="1" dirty="0"/>
              <a:t>Key takeaways: </a:t>
            </a:r>
            <a:r>
              <a:rPr lang="en-US" sz="1800" dirty="0"/>
              <a:t>Testing is not a single phase; it is integrated into every phase of the SDLC and follows its own lifecycle(STLC) to ensure quality at every step</a:t>
            </a:r>
          </a:p>
          <a:p>
            <a:pPr marL="0" indent="0" algn="just">
              <a:buNone/>
            </a:pPr>
            <a:endParaRPr lang="en-US" sz="1800" dirty="0"/>
          </a:p>
          <a:p>
            <a:pPr marL="0" indent="0" algn="just">
              <a:buNone/>
            </a:pPr>
            <a:r>
              <a:rPr lang="en-US" sz="1800" dirty="0"/>
              <a:t>Shell implements testing through a risk based, automated approach; ensuring systems are secure, reliable, and compliant with industry standards. They focus on performance, safety, and security testing across all phases of development to maintain operational excellence</a:t>
            </a:r>
          </a:p>
          <a:p>
            <a:pPr marL="0" indent="0">
              <a:buNone/>
            </a:pPr>
            <a:endParaRPr lang="en-US" sz="1800" b="1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000" dirty="0"/>
              <a:t>[Add a graphic that provides evidence of what you learned]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sp>
        <p:nvSpPr>
          <p:cNvPr id="6" name="Rectangle 3">
            <a:extLst>
              <a:ext uri="{FF2B5EF4-FFF2-40B4-BE49-F238E27FC236}">
                <a16:creationId xmlns:a16="http://schemas.microsoft.com/office/drawing/2014/main" id="{FBC938CB-415A-E7BC-B00B-1D916124BC48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43934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5" name="Picture 4" descr="A notebook with writing on it&#10;&#10;Description automatically generated">
            <a:extLst>
              <a:ext uri="{FF2B5EF4-FFF2-40B4-BE49-F238E27FC236}">
                <a16:creationId xmlns:a16="http://schemas.microsoft.com/office/drawing/2014/main" id="{44451901-FCAE-CEBC-B886-9233F09B7C1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4882" y="1860994"/>
            <a:ext cx="5115574" cy="40762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88145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2611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2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5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800" b="1" dirty="0"/>
              <a:t>Key learnings: </a:t>
            </a:r>
            <a:r>
              <a:rPr lang="en-US" sz="1800" dirty="0"/>
              <a:t>I have learned </a:t>
            </a:r>
            <a:r>
              <a:rPr lang="en-US" sz="1800" dirty="0" err="1"/>
              <a:t>devops</a:t>
            </a:r>
            <a:r>
              <a:rPr lang="en-US" sz="1800" dirty="0"/>
              <a:t> and CI/CD. They promotes collaboration between development and operations, automating workflows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1800" b="1" dirty="0"/>
              <a:t>Key takeaways: </a:t>
            </a:r>
            <a:r>
              <a:rPr lang="en-US" sz="1800" dirty="0"/>
              <a:t>DevOps and CI/CD streamline the development process, enabling faster, more reliable software releases with automated testing and monitoring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1800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1800" dirty="0"/>
              <a:t>Shell likely adopts and CI/CD to automate workflows, reduce deployment time, and enhance collaboration.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18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000" dirty="0"/>
              <a:t>[Add a graphic that provides evidence of what you learned]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2" name="Picture 1" descr="A diagram of a software development process&#10;&#10;Description automatically generated">
            <a:extLst>
              <a:ext uri="{FF2B5EF4-FFF2-40B4-BE49-F238E27FC236}">
                <a16:creationId xmlns:a16="http://schemas.microsoft.com/office/drawing/2014/main" id="{6986BA9D-432C-85A7-0F4E-B72CE28415F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0423" y="1975919"/>
            <a:ext cx="5197643" cy="39997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111271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96049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3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6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2"/>
            <a:ext cx="5653806" cy="4405053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Font typeface="Arial" panose="020B0604020202020204" pitchFamily="34" charset="0"/>
              <a:buNone/>
            </a:pPr>
            <a:r>
              <a:rPr lang="en-US" sz="1800" b="1" dirty="0"/>
              <a:t>Key learnings: </a:t>
            </a:r>
            <a:r>
              <a:rPr lang="en-US" sz="1800" dirty="0"/>
              <a:t>I have learned Cloud and also DBMS which can be used for managing data and cloud enables </a:t>
            </a:r>
            <a:r>
              <a:rPr lang="en-US" sz="1800" dirty="0" err="1"/>
              <a:t>fliexibility</a:t>
            </a:r>
            <a:endParaRPr lang="en-US" sz="1800" dirty="0"/>
          </a:p>
          <a:p>
            <a:pPr marL="0" indent="0" algn="just">
              <a:buFont typeface="Arial" panose="020B0604020202020204" pitchFamily="34" charset="0"/>
              <a:buNone/>
            </a:pPr>
            <a:r>
              <a:rPr lang="en-US" sz="1800" b="1" dirty="0"/>
              <a:t>Key Takeaways: </a:t>
            </a:r>
            <a:r>
              <a:rPr lang="en-US" sz="1800" dirty="0"/>
              <a:t>Cloud computing is a game changing technology which enables us to use hardware as software and DBMS plays a very important role in managing the data</a:t>
            </a:r>
          </a:p>
          <a:p>
            <a:pPr marL="0" indent="0">
              <a:buNone/>
            </a:pPr>
            <a:endParaRPr lang="en-US" sz="1800" dirty="0"/>
          </a:p>
          <a:p>
            <a:pPr marL="0" indent="0">
              <a:buNone/>
            </a:pPr>
            <a:r>
              <a:rPr lang="en-US" sz="1800" dirty="0"/>
              <a:t>Shell uses cloud to scale its IT infrastructure, supporting real time data processing. And shell uses DBMS to manage the large amount of data that it deals with on a daily basis.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1800" dirty="0"/>
              <a:t> 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2"/>
            <a:ext cx="5350706" cy="432805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000" dirty="0"/>
              <a:t>[Add a graphic that provides evidence of what you learned]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6" name="Picture 5" descr="A notebook with writing on it&#10;&#10;Description automatically generated">
            <a:extLst>
              <a:ext uri="{FF2B5EF4-FFF2-40B4-BE49-F238E27FC236}">
                <a16:creationId xmlns:a16="http://schemas.microsoft.com/office/drawing/2014/main" id="{17828607-F5AF-0C59-B35F-346CB6D3EA00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1835"/>
          <a:stretch/>
        </p:blipFill>
        <p:spPr>
          <a:xfrm>
            <a:off x="6400799" y="1923562"/>
            <a:ext cx="5171091" cy="4447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374758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Relevance of learnings for my organization</a:t>
            </a:r>
            <a:endParaRPr lang="en-IN" sz="4000" dirty="0"/>
          </a:p>
        </p:txBody>
      </p:sp>
      <p:pic>
        <p:nvPicPr>
          <p:cNvPr id="4" name="Graphic 3" descr="User network outline">
            <a:extLst>
              <a:ext uri="{FF2B5EF4-FFF2-40B4-BE49-F238E27FC236}">
                <a16:creationId xmlns:a16="http://schemas.microsoft.com/office/drawing/2014/main" id="{7164DAAD-2874-8D6F-8FCF-5053DEE24E3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94692" y="2838679"/>
            <a:ext cx="1180641" cy="1180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294915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00686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1 | Relevance for Shell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8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dirty="0"/>
              <a:t>Shell implements comprehensive testing through automated and structured methodologies to ensure reliability, security and compliance across </a:t>
            </a:r>
            <a:r>
              <a:rPr lang="en-US" sz="1800" dirty="0" err="1"/>
              <a:t>organisation</a:t>
            </a:r>
            <a:endParaRPr lang="en-US" sz="2000" dirty="0"/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1800" dirty="0"/>
              <a:t>Shell benefits from this because it enhances operational efficiency, safeguards against vulnerabilities and supports regulatory compliance</a:t>
            </a:r>
          </a:p>
          <a:p>
            <a:pPr marL="0" indent="0">
              <a:buNone/>
            </a:pPr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000" dirty="0"/>
              <a:t>[Add a graphic that provides view of how Shell implements this learning]</a:t>
            </a:r>
          </a:p>
        </p:txBody>
      </p:sp>
      <p:pic>
        <p:nvPicPr>
          <p:cNvPr id="5" name="Graphic 4" descr="User network outline">
            <a:extLst>
              <a:ext uri="{FF2B5EF4-FFF2-40B4-BE49-F238E27FC236}">
                <a16:creationId xmlns:a16="http://schemas.microsoft.com/office/drawing/2014/main" id="{0916C17C-12F9-BFD4-9A8B-40B3CFCA8C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6359" y="120879"/>
            <a:ext cx="1180641" cy="1180641"/>
          </a:xfrm>
          <a:prstGeom prst="rect">
            <a:avLst/>
          </a:prstGeom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F64EFC64-F3CB-3F03-9FEB-71072FED9A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53602" y="1876983"/>
            <a:ext cx="5350706" cy="39463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7151237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62998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2 | Relevance for Shell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9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dirty="0"/>
              <a:t>Shell’s </a:t>
            </a:r>
            <a:r>
              <a:rPr lang="en-US" sz="1800" dirty="0" err="1"/>
              <a:t>devops</a:t>
            </a:r>
            <a:r>
              <a:rPr lang="en-US" sz="1800" dirty="0"/>
              <a:t> implementation integrates development and operations for streamlined workflows, utilizing automation and cloud computing.</a:t>
            </a:r>
          </a:p>
          <a:p>
            <a:pPr marL="0" indent="0">
              <a:buNone/>
            </a:pPr>
            <a:endParaRPr lang="en-US" sz="1800" dirty="0"/>
          </a:p>
          <a:p>
            <a:pPr marL="0" indent="0">
              <a:buNone/>
            </a:pPr>
            <a:r>
              <a:rPr lang="en-US" sz="1800" dirty="0"/>
              <a:t>This approach accelerates time to market, enhances software quality and fosters collaboration, driving cost efficiency and adaptability in a dynamic  market</a:t>
            </a:r>
          </a:p>
          <a:p>
            <a:pPr marL="0" indent="0">
              <a:buNone/>
            </a:pPr>
            <a:endParaRPr lang="en-US" sz="18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10424" y="1870618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000" dirty="0"/>
              <a:t>[Add a graphic that provides view of how Shell implements this learning]</a:t>
            </a:r>
          </a:p>
        </p:txBody>
      </p:sp>
      <p:pic>
        <p:nvPicPr>
          <p:cNvPr id="5" name="Graphic 4" descr="User network outline">
            <a:extLst>
              <a:ext uri="{FF2B5EF4-FFF2-40B4-BE49-F238E27FC236}">
                <a16:creationId xmlns:a16="http://schemas.microsoft.com/office/drawing/2014/main" id="{0916C17C-12F9-BFD4-9A8B-40B3CFCA8C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6359" y="120879"/>
            <a:ext cx="1180641" cy="1180641"/>
          </a:xfrm>
          <a:prstGeom prst="rect">
            <a:avLst/>
          </a:prstGeom>
        </p:spPr>
      </p:pic>
      <p:pic>
        <p:nvPicPr>
          <p:cNvPr id="6" name="Picture 5" descr="A diagram of a software development process&#10;&#10;Description automatically generated">
            <a:extLst>
              <a:ext uri="{FF2B5EF4-FFF2-40B4-BE49-F238E27FC236}">
                <a16:creationId xmlns:a16="http://schemas.microsoft.com/office/drawing/2014/main" id="{91844086-0A7F-13F7-5EA8-7A5CAD84DBD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0423" y="1975919"/>
            <a:ext cx="5197643" cy="39997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98056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SCLIENT" val="True"/>
  <p:tag name="TEMPLATECREATED" val="2022-01-18 01:04 PM"/>
  <p:tag name="ICONENCLOSURE" val="False"/>
  <p:tag name="TEMPLATELASTEDITED" val="2022-01-18 06:01 PM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24">
      <a:dk1>
        <a:sysClr val="windowText" lastClr="000000"/>
      </a:dk1>
      <a:lt1>
        <a:sysClr val="window" lastClr="FFFFFF"/>
      </a:lt1>
      <a:dk2>
        <a:srgbClr val="2E4552"/>
      </a:dk2>
      <a:lt2>
        <a:srgbClr val="E7E6E6"/>
      </a:lt2>
      <a:accent1>
        <a:srgbClr val="FF6600"/>
      </a:accent1>
      <a:accent2>
        <a:srgbClr val="F78E47"/>
      </a:accent2>
      <a:accent3>
        <a:srgbClr val="FEA655"/>
      </a:accent3>
      <a:accent4>
        <a:srgbClr val="F8CBAD"/>
      </a:accent4>
      <a:accent5>
        <a:srgbClr val="767171"/>
      </a:accent5>
      <a:accent6>
        <a:srgbClr val="404040"/>
      </a:accent6>
      <a:hlink>
        <a:srgbClr val="FF6600"/>
      </a:hlink>
      <a:folHlink>
        <a:srgbClr val="909473"/>
      </a:folHlink>
    </a:clrScheme>
    <a:fontScheme name="Custom 30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BR_Jan 22_v1" id="{81372DDE-F7B0-48FF-9B2F-B6CAFBCFBF6C}" vid="{94CDC6AE-3EAC-4308-B00B-01C302E9C12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d64320fb-f9a3-4131-8206-9d18da17abe9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F23033ADD2CC44581BA464AC24AB4CD" ma:contentTypeVersion="18" ma:contentTypeDescription="Create a new document." ma:contentTypeScope="" ma:versionID="bfa97c90a71db97c80c59ca5c0ffda22">
  <xsd:schema xmlns:xsd="http://www.w3.org/2001/XMLSchema" xmlns:xs="http://www.w3.org/2001/XMLSchema" xmlns:p="http://schemas.microsoft.com/office/2006/metadata/properties" xmlns:ns3="d64320fb-f9a3-4131-8206-9d18da17abe9" xmlns:ns4="489eda54-cdc8-4a48-94a2-8f9cf8024289" targetNamespace="http://schemas.microsoft.com/office/2006/metadata/properties" ma:root="true" ma:fieldsID="be474ca7a15bf1e8a5e4b2eb5ea5d141" ns3:_="" ns4:_="">
    <xsd:import namespace="d64320fb-f9a3-4131-8206-9d18da17abe9"/>
    <xsd:import namespace="489eda54-cdc8-4a48-94a2-8f9cf8024289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LengthInSeconds" minOccurs="0"/>
                <xsd:element ref="ns3:MediaServiceOCR" minOccurs="0"/>
                <xsd:element ref="ns3:MediaServiceAutoKeyPoints" minOccurs="0"/>
                <xsd:element ref="ns3:MediaServiceKeyPoints" minOccurs="0"/>
                <xsd:element ref="ns3:_activity" minOccurs="0"/>
                <xsd:element ref="ns3:MediaServiceObjectDetectorVersions" minOccurs="0"/>
                <xsd:element ref="ns3:MediaServiceLocation" minOccurs="0"/>
                <xsd:element ref="ns3:MediaServiceSystemTag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64320fb-f9a3-4131-8206-9d18da17abe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description="" ma:hidden="true" ma:indexed="true" ma:internalName="MediaServiceDateTaken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_activity" ma:index="21" nillable="true" ma:displayName="_activity" ma:hidden="true" ma:internalName="_activity">
      <xsd:simpleType>
        <xsd:restriction base="dms:Note"/>
      </xsd:simple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Location" ma:index="23" nillable="true" ma:displayName="Location" ma:indexed="true" ma:internalName="MediaServiceLocation" ma:readOnly="true">
      <xsd:simpleType>
        <xsd:restriction base="dms:Text"/>
      </xsd:simpleType>
    </xsd:element>
    <xsd:element name="MediaServiceSystemTags" ma:index="24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89eda54-cdc8-4a48-94a2-8f9cf8024289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5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DADF44A-8650-472F-B2D9-50E27F0769F7}">
  <ds:schemaRefs>
    <ds:schemaRef ds:uri="d64320fb-f9a3-4131-8206-9d18da17abe9"/>
    <ds:schemaRef ds:uri="http://purl.org/dc/terms/"/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schemas.microsoft.com/office/2006/documentManagement/types"/>
    <ds:schemaRef ds:uri="http://schemas.openxmlformats.org/package/2006/metadata/core-properties"/>
    <ds:schemaRef ds:uri="http://www.w3.org/XML/1998/namespace"/>
    <ds:schemaRef ds:uri="489eda54-cdc8-4a48-94a2-8f9cf8024289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911617EF-9A33-49DD-BF18-3F75C7B3CC2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12B7AD5-CBD7-462B-BC8B-1E0D74017F5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64320fb-f9a3-4131-8206-9d18da17abe9"/>
    <ds:schemaRef ds:uri="489eda54-cdc8-4a48-94a2-8f9cf802428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d0cb1e24-a0e2-4a4c-9340-733297c9cd7c}" enabled="1" method="Privileged" siteId="{db1e96a8-a3da-442a-930b-235cac24cd5c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0824</TotalTime>
  <Words>962</Words>
  <Application>Microsoft Office PowerPoint</Application>
  <PresentationFormat>Widescreen</PresentationFormat>
  <Paragraphs>118</Paragraphs>
  <Slides>2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4" baseType="lpstr">
      <vt:lpstr>Arial</vt:lpstr>
      <vt:lpstr>Calibri</vt:lpstr>
      <vt:lpstr>Office Theme</vt:lpstr>
      <vt:lpstr>think-cell Slide</vt:lpstr>
      <vt:lpstr>PowerPoint Presentation</vt:lpstr>
      <vt:lpstr>About Me</vt:lpstr>
      <vt:lpstr>PowerPoint Presentation</vt:lpstr>
      <vt:lpstr>Learning 1 | My takeaways</vt:lpstr>
      <vt:lpstr>Learning 2 | My takeaways</vt:lpstr>
      <vt:lpstr>Learning 3 | My takeaways</vt:lpstr>
      <vt:lpstr>PowerPoint Presentation</vt:lpstr>
      <vt:lpstr>Learning 1 | Relevance for Shell</vt:lpstr>
      <vt:lpstr>Learning 2 | Relevance for Shell</vt:lpstr>
      <vt:lpstr>Learning 3 | Relevance for Shell</vt:lpstr>
      <vt:lpstr>PowerPoint Presentation</vt:lpstr>
      <vt:lpstr>Challenge faced while implementing Learning 1</vt:lpstr>
      <vt:lpstr>Challenge faced while implementing Learning 2</vt:lpstr>
      <vt:lpstr>Challenge faced while implementing Learning 3</vt:lpstr>
      <vt:lpstr>PowerPoint Presentation</vt:lpstr>
      <vt:lpstr>My Action Plan for this Week</vt:lpstr>
      <vt:lpstr>PowerPoint Presentation</vt:lpstr>
      <vt:lpstr>Learning is also Fun!</vt:lpstr>
      <vt:lpstr>Summary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urugesh Chandran</dc:creator>
  <cp:lastModifiedBy>Jallipalli, Lakshmi Susmitha Jayasri SBOBNG-PTIY/AAF</cp:lastModifiedBy>
  <cp:revision>501</cp:revision>
  <dcterms:created xsi:type="dcterms:W3CDTF">2022-01-18T12:35:56Z</dcterms:created>
  <dcterms:modified xsi:type="dcterms:W3CDTF">2024-09-06T16:28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Created">
    <vt:lpwstr>2022-01-18 01:04 PM</vt:lpwstr>
  </property>
  <property fmtid="{D5CDD505-2E9C-101B-9397-08002B2CF9AE}" pid="3" name="TemplateLastEdited">
    <vt:lpwstr>2022-01-18 06:01 PM</vt:lpwstr>
  </property>
  <property fmtid="{D5CDD505-2E9C-101B-9397-08002B2CF9AE}" pid="4" name="ContentTypeId">
    <vt:lpwstr>0x010100BF23033ADD2CC44581BA464AC24AB4CD</vt:lpwstr>
  </property>
</Properties>
</file>